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5"/>
  </p:notesMasterIdLst>
  <p:sldIdLst>
    <p:sldId id="704" r:id="rId5"/>
    <p:sldId id="743" r:id="rId6"/>
    <p:sldId id="778" r:id="rId7"/>
    <p:sldId id="796" r:id="rId8"/>
    <p:sldId id="795" r:id="rId9"/>
    <p:sldId id="797" r:id="rId10"/>
    <p:sldId id="799" r:id="rId11"/>
    <p:sldId id="800" r:id="rId12"/>
    <p:sldId id="794" r:id="rId13"/>
    <p:sldId id="781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indent="0" algn="l" defTabSz="914400" rtl="0" eaLnBrk="1" latinLnBrk="0" hangingPunct="1">
      <a:lnSpc>
        <a:spcPts val="3000"/>
      </a:lnSpc>
      <a:spcBef>
        <a:spcPts val="0"/>
      </a:spcBef>
      <a:buFontTx/>
      <a:buNone/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66400" indent="-266400" algn="l" defTabSz="914400" rtl="0" eaLnBrk="1" latinLnBrk="0" hangingPunct="1">
      <a:lnSpc>
        <a:spcPts val="3000"/>
      </a:lnSpc>
      <a:spcBef>
        <a:spcPts val="0"/>
      </a:spcBef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532800" indent="-266400" algn="l" defTabSz="914400" rtl="0" eaLnBrk="1" latinLnBrk="0" hangingPunct="1">
      <a:lnSpc>
        <a:spcPts val="3000"/>
      </a:lnSpc>
      <a:spcBef>
        <a:spcPts val="0"/>
      </a:spcBef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799200" indent="-266400" algn="l" defTabSz="914400" rtl="0" eaLnBrk="1" latinLnBrk="0" hangingPunct="1">
      <a:lnSpc>
        <a:spcPts val="3000"/>
      </a:lnSpc>
      <a:spcBef>
        <a:spcPts val="0"/>
      </a:spcBef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lnSpc>
        <a:spcPts val="3000"/>
      </a:lnSpc>
      <a:spcBef>
        <a:spcPts val="0"/>
      </a:spcBef>
      <a:buFontTx/>
      <a:buNone/>
      <a:defRPr sz="2000" b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nger, Katja" initials="MK" lastIdx="13" clrIdx="0">
    <p:extLst>
      <p:ext uri="{19B8F6BF-5375-455C-9EA6-DF929625EA0E}">
        <p15:presenceInfo xmlns:p15="http://schemas.microsoft.com/office/powerpoint/2012/main" userId="S-1-5-21-2347339886-128893183-1169554585-18377" providerId="AD"/>
      </p:ext>
    </p:extLst>
  </p:cmAuthor>
  <p:cmAuthor id="2" name="Dost, Mareen" initials="DM" lastIdx="27" clrIdx="1">
    <p:extLst>
      <p:ext uri="{19B8F6BF-5375-455C-9EA6-DF929625EA0E}">
        <p15:presenceInfo xmlns:p15="http://schemas.microsoft.com/office/powerpoint/2012/main" userId="S-1-5-21-2347339886-128893183-1169554585-2438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E50"/>
    <a:srgbClr val="01FF64"/>
    <a:srgbClr val="4AFFFF"/>
    <a:srgbClr val="225392"/>
    <a:srgbClr val="42659F"/>
    <a:srgbClr val="8DA6C5"/>
    <a:srgbClr val="00766E"/>
    <a:srgbClr val="009A7C"/>
    <a:srgbClr val="EE8360"/>
    <a:srgbClr val="F0E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1DF4AA20-D4C9-42F5-9B97-B99BD9E36C70}">
  <a:tblStyle styleId="{1DF4AA20-D4C9-42F5-9B97-B99BD9E36C70}" styleName="Gematik Tabelle">
    <a:tblBg/>
    <a:wholeTbl>
      <a:tcTxStyle>
        <a:fontRef idx="minor">
          <a:prstClr val="black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rgbClr val="E6E6E6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ajor">
          <a:prstClr val="black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28575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chemeClr val="lt1"/>
          </a:solidFill>
        </a:fill>
      </a:tcStyle>
    </a:firstRow>
    <a:neCell>
      <a:tcStyle>
        <a:tcBdr/>
      </a:tcStyle>
    </a:neCell>
    <a:nwCell>
      <a:tcStyle>
        <a:tcBdr/>
      </a:tcStyle>
    </a:nwCell>
    <a:extLst/>
  </a:tblStyle>
  <a:tblStyle styleId="{F4557EE4-4E99-45FB-A71D-A66433384003}" styleName="Gematik Tabelle mit blauem Kopf">
    <a:tblBg/>
    <a:wholeTbl>
      <a:tcTxStyle>
        <a:fontRef idx="minor">
          <a:prstClr val="black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rgbClr val="E6E6E6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ajor">
          <a:prstClr val="black"/>
        </a:fontRef>
        <a:schemeClr val="bg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28575" cmpd="sng">
              <a:solidFill>
                <a:schemeClr val="lt1"/>
              </a:solidFill>
            </a:ln>
          </a:insideV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  <a:extLst/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60" autoAdjust="0"/>
    <p:restoredTop sz="94033" autoAdjust="0"/>
  </p:normalViewPr>
  <p:slideViewPr>
    <p:cSldViewPr snapToGrid="0" showGuides="1">
      <p:cViewPr varScale="1">
        <p:scale>
          <a:sx n="123" d="100"/>
          <a:sy n="123" d="100"/>
        </p:scale>
        <p:origin x="218" y="46"/>
      </p:cViewPr>
      <p:guideLst/>
    </p:cSldViewPr>
  </p:slideViewPr>
  <p:outlineViewPr>
    <p:cViewPr>
      <p:scale>
        <a:sx n="33" d="100"/>
        <a:sy n="33" d="100"/>
      </p:scale>
      <p:origin x="0" y="-519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A7BCD2-50AA-4B58-90C4-64D00CF94203}" type="datetimeFigureOut">
              <a:rPr lang="de-DE" smtClean="0"/>
              <a:t>03.1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5ADF6D-D8B2-412B-B870-7535BA8777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1260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73CD37A-E4E0-8342-B8E4-B2294A687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449" y="1732548"/>
            <a:ext cx="11070475" cy="16577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kann bis zu drei Zeil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9DFF96E-A5A5-2E40-BDAC-B8622B5C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76A71E2-7252-644B-B96D-49BD702CC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62789" y="178726"/>
            <a:ext cx="3236361" cy="121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57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2673771"/>
            <a:ext cx="8048816" cy="1662482"/>
          </a:xfrm>
          <a:prstGeom prst="roundRect">
            <a:avLst/>
          </a:prstGeom>
          <a:ln w="50800">
            <a:solidFill>
              <a:srgbClr val="00FF64"/>
            </a:solidFill>
          </a:ln>
        </p:spPr>
        <p:txBody>
          <a:bodyPr vert="horz" wrap="square" lIns="360000" tIns="360000" rIns="360000" bIns="360000" rtlCol="0" anchor="b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rennseiten können mit bis zu drei Zeilen Text gestaltet werd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23CD5E2-0944-754B-A0C7-6805DCD630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E8506E04-9E08-7041-930B-79012C21AA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2D350AD-78C9-457B-B45D-885B5E662633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26CC80A-C2DE-2548-935B-D4AECA0796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5D5B3CDE-C6AA-1441-ADE9-6B3010DBC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5979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2673771"/>
            <a:ext cx="8048816" cy="1662482"/>
          </a:xfrm>
          <a:prstGeom prst="roundRect">
            <a:avLst/>
          </a:prstGeom>
          <a:ln w="50800">
            <a:solidFill>
              <a:schemeClr val="accent4"/>
            </a:solidFill>
          </a:ln>
        </p:spPr>
        <p:txBody>
          <a:bodyPr vert="horz" wrap="square" lIns="360000" tIns="360000" rIns="360000" bIns="360000" rtlCol="0" anchor="b" anchorCtr="0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rennseiten können mit bis zu drei Zeilen Text gestaltet werd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31CC9AF-A908-8A4C-8A3A-13EA8BE3CB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D897F789-BCE5-4D44-9417-818A1E287A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EC71E73A-73A5-4B62-8C9E-D84BA0836E4E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78E4C879-A771-564D-8285-117C6785F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4F9D81E6-9335-BC41-91BC-9F0B9F4893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8104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4">
    <p:bg>
      <p:bgPr>
        <a:solidFill>
          <a:srgbClr val="000E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8"/>
            <a:ext cx="9030950" cy="15557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Trennseiten können mit bis zu drei Zeilen Text gestaltet werden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5ACC6E2F-D335-7A48-B682-62B2D286E5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sp>
        <p:nvSpPr>
          <p:cNvPr id="8" name="Foliennummernplatzhalter 8">
            <a:extLst>
              <a:ext uri="{FF2B5EF4-FFF2-40B4-BE49-F238E27FC236}">
                <a16:creationId xmlns:a16="http://schemas.microsoft.com/office/drawing/2014/main" id="{0271DE23-F0DE-3243-B1F4-DB28B6F64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6550" y="6493730"/>
            <a:ext cx="686174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2C68436-B180-9146-94F7-F3BFD26AC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41403" y="6478314"/>
            <a:ext cx="802800" cy="2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6" name="Datumsplatzhalter 1">
            <a:extLst>
              <a:ext uri="{FF2B5EF4-FFF2-40B4-BE49-F238E27FC236}">
                <a16:creationId xmlns:a16="http://schemas.microsoft.com/office/drawing/2014/main" id="{A827B567-2EE6-C049-AB32-3B76C37AA8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2091" y="6461798"/>
            <a:ext cx="686365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70EAAF-6B35-44F7-B6DE-54E02B615ED3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39CEC63A-D15E-754C-8696-DE02CF602B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98662" y="6463629"/>
            <a:ext cx="6480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0671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8" y="739866"/>
            <a:ext cx="3409082" cy="1225629"/>
          </a:xfrm>
          <a:custGeom>
            <a:avLst/>
            <a:gdLst>
              <a:gd name="connsiteX0" fmla="*/ 0 w 3409082"/>
              <a:gd name="connsiteY0" fmla="*/ 158975 h 953828"/>
              <a:gd name="connsiteX1" fmla="*/ 158975 w 3409082"/>
              <a:gd name="connsiteY1" fmla="*/ 0 h 953828"/>
              <a:gd name="connsiteX2" fmla="*/ 568180 w 3409082"/>
              <a:gd name="connsiteY2" fmla="*/ 0 h 953828"/>
              <a:gd name="connsiteX3" fmla="*/ 568180 w 3409082"/>
              <a:gd name="connsiteY3" fmla="*/ 0 h 953828"/>
              <a:gd name="connsiteX4" fmla="*/ 1420451 w 3409082"/>
              <a:gd name="connsiteY4" fmla="*/ 0 h 953828"/>
              <a:gd name="connsiteX5" fmla="*/ 3250107 w 3409082"/>
              <a:gd name="connsiteY5" fmla="*/ 0 h 953828"/>
              <a:gd name="connsiteX6" fmla="*/ 3409082 w 3409082"/>
              <a:gd name="connsiteY6" fmla="*/ 158975 h 953828"/>
              <a:gd name="connsiteX7" fmla="*/ 3409082 w 3409082"/>
              <a:gd name="connsiteY7" fmla="*/ 556400 h 953828"/>
              <a:gd name="connsiteX8" fmla="*/ 3409082 w 3409082"/>
              <a:gd name="connsiteY8" fmla="*/ 556400 h 953828"/>
              <a:gd name="connsiteX9" fmla="*/ 3409082 w 3409082"/>
              <a:gd name="connsiteY9" fmla="*/ 794857 h 953828"/>
              <a:gd name="connsiteX10" fmla="*/ 3409082 w 3409082"/>
              <a:gd name="connsiteY10" fmla="*/ 794853 h 953828"/>
              <a:gd name="connsiteX11" fmla="*/ 3250107 w 3409082"/>
              <a:gd name="connsiteY11" fmla="*/ 953828 h 953828"/>
              <a:gd name="connsiteX12" fmla="*/ 1420451 w 3409082"/>
              <a:gd name="connsiteY12" fmla="*/ 953828 h 953828"/>
              <a:gd name="connsiteX13" fmla="*/ 994327 w 3409082"/>
              <a:gd name="connsiteY13" fmla="*/ 1073057 h 953828"/>
              <a:gd name="connsiteX14" fmla="*/ 568180 w 3409082"/>
              <a:gd name="connsiteY14" fmla="*/ 953828 h 953828"/>
              <a:gd name="connsiteX15" fmla="*/ 158975 w 3409082"/>
              <a:gd name="connsiteY15" fmla="*/ 953828 h 953828"/>
              <a:gd name="connsiteX16" fmla="*/ 0 w 3409082"/>
              <a:gd name="connsiteY16" fmla="*/ 794853 h 953828"/>
              <a:gd name="connsiteX17" fmla="*/ 0 w 3409082"/>
              <a:gd name="connsiteY17" fmla="*/ 794857 h 953828"/>
              <a:gd name="connsiteX18" fmla="*/ 0 w 3409082"/>
              <a:gd name="connsiteY18" fmla="*/ 556400 h 953828"/>
              <a:gd name="connsiteX19" fmla="*/ 0 w 3409082"/>
              <a:gd name="connsiteY19" fmla="*/ 556400 h 953828"/>
              <a:gd name="connsiteX20" fmla="*/ 0 w 3409082"/>
              <a:gd name="connsiteY20" fmla="*/ 158975 h 953828"/>
              <a:gd name="connsiteX0" fmla="*/ 0 w 3409082"/>
              <a:gd name="connsiteY0" fmla="*/ 158975 h 1164497"/>
              <a:gd name="connsiteX1" fmla="*/ 158975 w 3409082"/>
              <a:gd name="connsiteY1" fmla="*/ 0 h 1164497"/>
              <a:gd name="connsiteX2" fmla="*/ 568180 w 3409082"/>
              <a:gd name="connsiteY2" fmla="*/ 0 h 1164497"/>
              <a:gd name="connsiteX3" fmla="*/ 568180 w 3409082"/>
              <a:gd name="connsiteY3" fmla="*/ 0 h 1164497"/>
              <a:gd name="connsiteX4" fmla="*/ 1420451 w 3409082"/>
              <a:gd name="connsiteY4" fmla="*/ 0 h 1164497"/>
              <a:gd name="connsiteX5" fmla="*/ 3250107 w 3409082"/>
              <a:gd name="connsiteY5" fmla="*/ 0 h 1164497"/>
              <a:gd name="connsiteX6" fmla="*/ 3409082 w 3409082"/>
              <a:gd name="connsiteY6" fmla="*/ 158975 h 1164497"/>
              <a:gd name="connsiteX7" fmla="*/ 3409082 w 3409082"/>
              <a:gd name="connsiteY7" fmla="*/ 556400 h 1164497"/>
              <a:gd name="connsiteX8" fmla="*/ 3409082 w 3409082"/>
              <a:gd name="connsiteY8" fmla="*/ 556400 h 1164497"/>
              <a:gd name="connsiteX9" fmla="*/ 3409082 w 3409082"/>
              <a:gd name="connsiteY9" fmla="*/ 794857 h 1164497"/>
              <a:gd name="connsiteX10" fmla="*/ 3409082 w 3409082"/>
              <a:gd name="connsiteY10" fmla="*/ 794853 h 1164497"/>
              <a:gd name="connsiteX11" fmla="*/ 3250107 w 3409082"/>
              <a:gd name="connsiteY11" fmla="*/ 953828 h 1164497"/>
              <a:gd name="connsiteX12" fmla="*/ 1420451 w 3409082"/>
              <a:gd name="connsiteY12" fmla="*/ 953828 h 1164497"/>
              <a:gd name="connsiteX13" fmla="*/ 570378 w 3409082"/>
              <a:gd name="connsiteY13" fmla="*/ 1164497 h 1164497"/>
              <a:gd name="connsiteX14" fmla="*/ 568180 w 3409082"/>
              <a:gd name="connsiteY14" fmla="*/ 953828 h 1164497"/>
              <a:gd name="connsiteX15" fmla="*/ 158975 w 3409082"/>
              <a:gd name="connsiteY15" fmla="*/ 953828 h 1164497"/>
              <a:gd name="connsiteX16" fmla="*/ 0 w 3409082"/>
              <a:gd name="connsiteY16" fmla="*/ 794853 h 1164497"/>
              <a:gd name="connsiteX17" fmla="*/ 0 w 3409082"/>
              <a:gd name="connsiteY17" fmla="*/ 794857 h 1164497"/>
              <a:gd name="connsiteX18" fmla="*/ 0 w 3409082"/>
              <a:gd name="connsiteY18" fmla="*/ 556400 h 1164497"/>
              <a:gd name="connsiteX19" fmla="*/ 0 w 3409082"/>
              <a:gd name="connsiteY19" fmla="*/ 556400 h 1164497"/>
              <a:gd name="connsiteX20" fmla="*/ 0 w 3409082"/>
              <a:gd name="connsiteY20" fmla="*/ 158975 h 1164497"/>
              <a:gd name="connsiteX0" fmla="*/ 0 w 3409082"/>
              <a:gd name="connsiteY0" fmla="*/ 158975 h 1438817"/>
              <a:gd name="connsiteX1" fmla="*/ 158975 w 3409082"/>
              <a:gd name="connsiteY1" fmla="*/ 0 h 1438817"/>
              <a:gd name="connsiteX2" fmla="*/ 568180 w 3409082"/>
              <a:gd name="connsiteY2" fmla="*/ 0 h 1438817"/>
              <a:gd name="connsiteX3" fmla="*/ 568180 w 3409082"/>
              <a:gd name="connsiteY3" fmla="*/ 0 h 1438817"/>
              <a:gd name="connsiteX4" fmla="*/ 1420451 w 3409082"/>
              <a:gd name="connsiteY4" fmla="*/ 0 h 1438817"/>
              <a:gd name="connsiteX5" fmla="*/ 3250107 w 3409082"/>
              <a:gd name="connsiteY5" fmla="*/ 0 h 1438817"/>
              <a:gd name="connsiteX6" fmla="*/ 3409082 w 3409082"/>
              <a:gd name="connsiteY6" fmla="*/ 158975 h 1438817"/>
              <a:gd name="connsiteX7" fmla="*/ 3409082 w 3409082"/>
              <a:gd name="connsiteY7" fmla="*/ 556400 h 1438817"/>
              <a:gd name="connsiteX8" fmla="*/ 3409082 w 3409082"/>
              <a:gd name="connsiteY8" fmla="*/ 556400 h 1438817"/>
              <a:gd name="connsiteX9" fmla="*/ 3409082 w 3409082"/>
              <a:gd name="connsiteY9" fmla="*/ 794857 h 1438817"/>
              <a:gd name="connsiteX10" fmla="*/ 3409082 w 3409082"/>
              <a:gd name="connsiteY10" fmla="*/ 794853 h 1438817"/>
              <a:gd name="connsiteX11" fmla="*/ 3250107 w 3409082"/>
              <a:gd name="connsiteY11" fmla="*/ 953828 h 1438817"/>
              <a:gd name="connsiteX12" fmla="*/ 1420451 w 3409082"/>
              <a:gd name="connsiteY12" fmla="*/ 953828 h 1438817"/>
              <a:gd name="connsiteX13" fmla="*/ 670130 w 3409082"/>
              <a:gd name="connsiteY13" fmla="*/ 1438817 h 1438817"/>
              <a:gd name="connsiteX14" fmla="*/ 568180 w 3409082"/>
              <a:gd name="connsiteY14" fmla="*/ 953828 h 1438817"/>
              <a:gd name="connsiteX15" fmla="*/ 158975 w 3409082"/>
              <a:gd name="connsiteY15" fmla="*/ 953828 h 1438817"/>
              <a:gd name="connsiteX16" fmla="*/ 0 w 3409082"/>
              <a:gd name="connsiteY16" fmla="*/ 794853 h 1438817"/>
              <a:gd name="connsiteX17" fmla="*/ 0 w 3409082"/>
              <a:gd name="connsiteY17" fmla="*/ 794857 h 1438817"/>
              <a:gd name="connsiteX18" fmla="*/ 0 w 3409082"/>
              <a:gd name="connsiteY18" fmla="*/ 556400 h 1438817"/>
              <a:gd name="connsiteX19" fmla="*/ 0 w 3409082"/>
              <a:gd name="connsiteY19" fmla="*/ 556400 h 1438817"/>
              <a:gd name="connsiteX20" fmla="*/ 0 w 3409082"/>
              <a:gd name="connsiteY20" fmla="*/ 158975 h 1438817"/>
              <a:gd name="connsiteX0" fmla="*/ 0 w 3409082"/>
              <a:gd name="connsiteY0" fmla="*/ 158975 h 1272562"/>
              <a:gd name="connsiteX1" fmla="*/ 158975 w 3409082"/>
              <a:gd name="connsiteY1" fmla="*/ 0 h 1272562"/>
              <a:gd name="connsiteX2" fmla="*/ 568180 w 3409082"/>
              <a:gd name="connsiteY2" fmla="*/ 0 h 1272562"/>
              <a:gd name="connsiteX3" fmla="*/ 568180 w 3409082"/>
              <a:gd name="connsiteY3" fmla="*/ 0 h 1272562"/>
              <a:gd name="connsiteX4" fmla="*/ 1420451 w 3409082"/>
              <a:gd name="connsiteY4" fmla="*/ 0 h 1272562"/>
              <a:gd name="connsiteX5" fmla="*/ 3250107 w 3409082"/>
              <a:gd name="connsiteY5" fmla="*/ 0 h 1272562"/>
              <a:gd name="connsiteX6" fmla="*/ 3409082 w 3409082"/>
              <a:gd name="connsiteY6" fmla="*/ 158975 h 1272562"/>
              <a:gd name="connsiteX7" fmla="*/ 3409082 w 3409082"/>
              <a:gd name="connsiteY7" fmla="*/ 556400 h 1272562"/>
              <a:gd name="connsiteX8" fmla="*/ 3409082 w 3409082"/>
              <a:gd name="connsiteY8" fmla="*/ 556400 h 1272562"/>
              <a:gd name="connsiteX9" fmla="*/ 3409082 w 3409082"/>
              <a:gd name="connsiteY9" fmla="*/ 794857 h 1272562"/>
              <a:gd name="connsiteX10" fmla="*/ 3409082 w 3409082"/>
              <a:gd name="connsiteY10" fmla="*/ 794853 h 1272562"/>
              <a:gd name="connsiteX11" fmla="*/ 3250107 w 3409082"/>
              <a:gd name="connsiteY11" fmla="*/ 953828 h 1272562"/>
              <a:gd name="connsiteX12" fmla="*/ 1420451 w 3409082"/>
              <a:gd name="connsiteY12" fmla="*/ 953828 h 1272562"/>
              <a:gd name="connsiteX13" fmla="*/ 562065 w 3409082"/>
              <a:gd name="connsiteY13" fmla="*/ 1272562 h 1272562"/>
              <a:gd name="connsiteX14" fmla="*/ 568180 w 3409082"/>
              <a:gd name="connsiteY14" fmla="*/ 953828 h 1272562"/>
              <a:gd name="connsiteX15" fmla="*/ 158975 w 3409082"/>
              <a:gd name="connsiteY15" fmla="*/ 953828 h 1272562"/>
              <a:gd name="connsiteX16" fmla="*/ 0 w 3409082"/>
              <a:gd name="connsiteY16" fmla="*/ 794853 h 1272562"/>
              <a:gd name="connsiteX17" fmla="*/ 0 w 3409082"/>
              <a:gd name="connsiteY17" fmla="*/ 794857 h 1272562"/>
              <a:gd name="connsiteX18" fmla="*/ 0 w 3409082"/>
              <a:gd name="connsiteY18" fmla="*/ 556400 h 1272562"/>
              <a:gd name="connsiteX19" fmla="*/ 0 w 3409082"/>
              <a:gd name="connsiteY19" fmla="*/ 556400 h 1272562"/>
              <a:gd name="connsiteX20" fmla="*/ 0 w 3409082"/>
              <a:gd name="connsiteY20" fmla="*/ 158975 h 1272562"/>
              <a:gd name="connsiteX0" fmla="*/ 0 w 3409082"/>
              <a:gd name="connsiteY0" fmla="*/ 158975 h 1225953"/>
              <a:gd name="connsiteX1" fmla="*/ 158975 w 3409082"/>
              <a:gd name="connsiteY1" fmla="*/ 0 h 1225953"/>
              <a:gd name="connsiteX2" fmla="*/ 568180 w 3409082"/>
              <a:gd name="connsiteY2" fmla="*/ 0 h 1225953"/>
              <a:gd name="connsiteX3" fmla="*/ 568180 w 3409082"/>
              <a:gd name="connsiteY3" fmla="*/ 0 h 1225953"/>
              <a:gd name="connsiteX4" fmla="*/ 1420451 w 3409082"/>
              <a:gd name="connsiteY4" fmla="*/ 0 h 1225953"/>
              <a:gd name="connsiteX5" fmla="*/ 3250107 w 3409082"/>
              <a:gd name="connsiteY5" fmla="*/ 0 h 1225953"/>
              <a:gd name="connsiteX6" fmla="*/ 3409082 w 3409082"/>
              <a:gd name="connsiteY6" fmla="*/ 158975 h 1225953"/>
              <a:gd name="connsiteX7" fmla="*/ 3409082 w 3409082"/>
              <a:gd name="connsiteY7" fmla="*/ 556400 h 1225953"/>
              <a:gd name="connsiteX8" fmla="*/ 3409082 w 3409082"/>
              <a:gd name="connsiteY8" fmla="*/ 556400 h 1225953"/>
              <a:gd name="connsiteX9" fmla="*/ 3409082 w 3409082"/>
              <a:gd name="connsiteY9" fmla="*/ 794857 h 1225953"/>
              <a:gd name="connsiteX10" fmla="*/ 3409082 w 3409082"/>
              <a:gd name="connsiteY10" fmla="*/ 794853 h 1225953"/>
              <a:gd name="connsiteX11" fmla="*/ 3250107 w 3409082"/>
              <a:gd name="connsiteY11" fmla="*/ 953828 h 1225953"/>
              <a:gd name="connsiteX12" fmla="*/ 1420451 w 3409082"/>
              <a:gd name="connsiteY12" fmla="*/ 953828 h 1225953"/>
              <a:gd name="connsiteX13" fmla="*/ 571623 w 3409082"/>
              <a:gd name="connsiteY13" fmla="*/ 1225953 h 1225953"/>
              <a:gd name="connsiteX14" fmla="*/ 568180 w 3409082"/>
              <a:gd name="connsiteY14" fmla="*/ 953828 h 1225953"/>
              <a:gd name="connsiteX15" fmla="*/ 158975 w 3409082"/>
              <a:gd name="connsiteY15" fmla="*/ 953828 h 1225953"/>
              <a:gd name="connsiteX16" fmla="*/ 0 w 3409082"/>
              <a:gd name="connsiteY16" fmla="*/ 794853 h 1225953"/>
              <a:gd name="connsiteX17" fmla="*/ 0 w 3409082"/>
              <a:gd name="connsiteY17" fmla="*/ 794857 h 1225953"/>
              <a:gd name="connsiteX18" fmla="*/ 0 w 3409082"/>
              <a:gd name="connsiteY18" fmla="*/ 556400 h 1225953"/>
              <a:gd name="connsiteX19" fmla="*/ 0 w 3409082"/>
              <a:gd name="connsiteY19" fmla="*/ 556400 h 1225953"/>
              <a:gd name="connsiteX20" fmla="*/ 0 w 3409082"/>
              <a:gd name="connsiteY20" fmla="*/ 158975 h 1225953"/>
              <a:gd name="connsiteX0" fmla="*/ 0 w 3409082"/>
              <a:gd name="connsiteY0" fmla="*/ 158975 h 1260910"/>
              <a:gd name="connsiteX1" fmla="*/ 158975 w 3409082"/>
              <a:gd name="connsiteY1" fmla="*/ 0 h 1260910"/>
              <a:gd name="connsiteX2" fmla="*/ 568180 w 3409082"/>
              <a:gd name="connsiteY2" fmla="*/ 0 h 1260910"/>
              <a:gd name="connsiteX3" fmla="*/ 568180 w 3409082"/>
              <a:gd name="connsiteY3" fmla="*/ 0 h 1260910"/>
              <a:gd name="connsiteX4" fmla="*/ 1420451 w 3409082"/>
              <a:gd name="connsiteY4" fmla="*/ 0 h 1260910"/>
              <a:gd name="connsiteX5" fmla="*/ 3250107 w 3409082"/>
              <a:gd name="connsiteY5" fmla="*/ 0 h 1260910"/>
              <a:gd name="connsiteX6" fmla="*/ 3409082 w 3409082"/>
              <a:gd name="connsiteY6" fmla="*/ 158975 h 1260910"/>
              <a:gd name="connsiteX7" fmla="*/ 3409082 w 3409082"/>
              <a:gd name="connsiteY7" fmla="*/ 556400 h 1260910"/>
              <a:gd name="connsiteX8" fmla="*/ 3409082 w 3409082"/>
              <a:gd name="connsiteY8" fmla="*/ 556400 h 1260910"/>
              <a:gd name="connsiteX9" fmla="*/ 3409082 w 3409082"/>
              <a:gd name="connsiteY9" fmla="*/ 794857 h 1260910"/>
              <a:gd name="connsiteX10" fmla="*/ 3409082 w 3409082"/>
              <a:gd name="connsiteY10" fmla="*/ 794853 h 1260910"/>
              <a:gd name="connsiteX11" fmla="*/ 3250107 w 3409082"/>
              <a:gd name="connsiteY11" fmla="*/ 953828 h 1260910"/>
              <a:gd name="connsiteX12" fmla="*/ 1420451 w 3409082"/>
              <a:gd name="connsiteY12" fmla="*/ 953828 h 1260910"/>
              <a:gd name="connsiteX13" fmla="*/ 568437 w 3409082"/>
              <a:gd name="connsiteY13" fmla="*/ 1260910 h 1260910"/>
              <a:gd name="connsiteX14" fmla="*/ 568180 w 3409082"/>
              <a:gd name="connsiteY14" fmla="*/ 953828 h 1260910"/>
              <a:gd name="connsiteX15" fmla="*/ 158975 w 3409082"/>
              <a:gd name="connsiteY15" fmla="*/ 953828 h 1260910"/>
              <a:gd name="connsiteX16" fmla="*/ 0 w 3409082"/>
              <a:gd name="connsiteY16" fmla="*/ 794853 h 1260910"/>
              <a:gd name="connsiteX17" fmla="*/ 0 w 3409082"/>
              <a:gd name="connsiteY17" fmla="*/ 794857 h 1260910"/>
              <a:gd name="connsiteX18" fmla="*/ 0 w 3409082"/>
              <a:gd name="connsiteY18" fmla="*/ 556400 h 1260910"/>
              <a:gd name="connsiteX19" fmla="*/ 0 w 3409082"/>
              <a:gd name="connsiteY19" fmla="*/ 556400 h 1260910"/>
              <a:gd name="connsiteX20" fmla="*/ 0 w 3409082"/>
              <a:gd name="connsiteY20" fmla="*/ 158975 h 1260910"/>
              <a:gd name="connsiteX0" fmla="*/ 0 w 3409082"/>
              <a:gd name="connsiteY0" fmla="*/ 158975 h 1260910"/>
              <a:gd name="connsiteX1" fmla="*/ 158975 w 3409082"/>
              <a:gd name="connsiteY1" fmla="*/ 0 h 1260910"/>
              <a:gd name="connsiteX2" fmla="*/ 568180 w 3409082"/>
              <a:gd name="connsiteY2" fmla="*/ 0 h 1260910"/>
              <a:gd name="connsiteX3" fmla="*/ 568180 w 3409082"/>
              <a:gd name="connsiteY3" fmla="*/ 0 h 1260910"/>
              <a:gd name="connsiteX4" fmla="*/ 1420451 w 3409082"/>
              <a:gd name="connsiteY4" fmla="*/ 0 h 1260910"/>
              <a:gd name="connsiteX5" fmla="*/ 3250107 w 3409082"/>
              <a:gd name="connsiteY5" fmla="*/ 0 h 1260910"/>
              <a:gd name="connsiteX6" fmla="*/ 3409082 w 3409082"/>
              <a:gd name="connsiteY6" fmla="*/ 158975 h 1260910"/>
              <a:gd name="connsiteX7" fmla="*/ 3409082 w 3409082"/>
              <a:gd name="connsiteY7" fmla="*/ 556400 h 1260910"/>
              <a:gd name="connsiteX8" fmla="*/ 3409082 w 3409082"/>
              <a:gd name="connsiteY8" fmla="*/ 556400 h 1260910"/>
              <a:gd name="connsiteX9" fmla="*/ 3409082 w 3409082"/>
              <a:gd name="connsiteY9" fmla="*/ 794857 h 1260910"/>
              <a:gd name="connsiteX10" fmla="*/ 3409082 w 3409082"/>
              <a:gd name="connsiteY10" fmla="*/ 794853 h 1260910"/>
              <a:gd name="connsiteX11" fmla="*/ 3250107 w 3409082"/>
              <a:gd name="connsiteY11" fmla="*/ 953828 h 1260910"/>
              <a:gd name="connsiteX12" fmla="*/ 1025379 w 3409082"/>
              <a:gd name="connsiteY12" fmla="*/ 953827 h 1260910"/>
              <a:gd name="connsiteX13" fmla="*/ 568437 w 3409082"/>
              <a:gd name="connsiteY13" fmla="*/ 1260910 h 1260910"/>
              <a:gd name="connsiteX14" fmla="*/ 568180 w 3409082"/>
              <a:gd name="connsiteY14" fmla="*/ 953828 h 1260910"/>
              <a:gd name="connsiteX15" fmla="*/ 158975 w 3409082"/>
              <a:gd name="connsiteY15" fmla="*/ 953828 h 1260910"/>
              <a:gd name="connsiteX16" fmla="*/ 0 w 3409082"/>
              <a:gd name="connsiteY16" fmla="*/ 794853 h 1260910"/>
              <a:gd name="connsiteX17" fmla="*/ 0 w 3409082"/>
              <a:gd name="connsiteY17" fmla="*/ 794857 h 1260910"/>
              <a:gd name="connsiteX18" fmla="*/ 0 w 3409082"/>
              <a:gd name="connsiteY18" fmla="*/ 556400 h 1260910"/>
              <a:gd name="connsiteX19" fmla="*/ 0 w 3409082"/>
              <a:gd name="connsiteY19" fmla="*/ 556400 h 1260910"/>
              <a:gd name="connsiteX20" fmla="*/ 0 w 3409082"/>
              <a:gd name="connsiteY20" fmla="*/ 158975 h 1260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409082" h="1260910">
                <a:moveTo>
                  <a:pt x="0" y="158975"/>
                </a:moveTo>
                <a:cubicBezTo>
                  <a:pt x="0" y="71176"/>
                  <a:pt x="71176" y="0"/>
                  <a:pt x="158975" y="0"/>
                </a:cubicBezTo>
                <a:lnTo>
                  <a:pt x="568180" y="0"/>
                </a:lnTo>
                <a:lnTo>
                  <a:pt x="568180" y="0"/>
                </a:lnTo>
                <a:lnTo>
                  <a:pt x="1420451" y="0"/>
                </a:lnTo>
                <a:lnTo>
                  <a:pt x="3250107" y="0"/>
                </a:lnTo>
                <a:cubicBezTo>
                  <a:pt x="3337906" y="0"/>
                  <a:pt x="3409082" y="71176"/>
                  <a:pt x="3409082" y="158975"/>
                </a:cubicBezTo>
                <a:lnTo>
                  <a:pt x="3409082" y="556400"/>
                </a:lnTo>
                <a:lnTo>
                  <a:pt x="3409082" y="556400"/>
                </a:lnTo>
                <a:lnTo>
                  <a:pt x="3409082" y="794857"/>
                </a:lnTo>
                <a:lnTo>
                  <a:pt x="3409082" y="794853"/>
                </a:lnTo>
                <a:cubicBezTo>
                  <a:pt x="3409082" y="882652"/>
                  <a:pt x="3337906" y="953828"/>
                  <a:pt x="3250107" y="953828"/>
                </a:cubicBezTo>
                <a:lnTo>
                  <a:pt x="1025379" y="953827"/>
                </a:lnTo>
                <a:lnTo>
                  <a:pt x="568437" y="1260910"/>
                </a:lnTo>
                <a:cubicBezTo>
                  <a:pt x="567704" y="1190687"/>
                  <a:pt x="568913" y="1024051"/>
                  <a:pt x="568180" y="953828"/>
                </a:cubicBezTo>
                <a:lnTo>
                  <a:pt x="158975" y="953828"/>
                </a:lnTo>
                <a:cubicBezTo>
                  <a:pt x="71176" y="953828"/>
                  <a:pt x="0" y="882652"/>
                  <a:pt x="0" y="794853"/>
                </a:cubicBezTo>
                <a:lnTo>
                  <a:pt x="0" y="794857"/>
                </a:lnTo>
                <a:lnTo>
                  <a:pt x="0" y="556400"/>
                </a:lnTo>
                <a:lnTo>
                  <a:pt x="0" y="556400"/>
                </a:lnTo>
                <a:lnTo>
                  <a:pt x="0" y="158975"/>
                </a:lnTo>
                <a:close/>
              </a:path>
            </a:pathLst>
          </a:custGeom>
          <a:ln w="50800">
            <a:solidFill>
              <a:schemeClr val="accent2"/>
            </a:solidFill>
          </a:ln>
        </p:spPr>
        <p:txBody>
          <a:bodyPr vert="horz" wrap="square" lIns="180000" tIns="180000" rIns="180000" bIns="540000" rtlCol="0" anchor="t" anchorCtr="0">
            <a:sp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ist Platz für ein zweizeiliges Zitat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AE400B0-8A82-AE4B-A5B9-6D893291E2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58FA510E-CDB5-C148-A647-98E4A055B9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F457ACCB-56BD-48E1-BD1C-5899FC43C9CA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B03223B5-35FB-7345-B07A-10267D258C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600D9F8-85C2-4B4A-9E3E-1C968A9569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9509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397DA70-B73A-5448-893D-5E2B6B26FC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2450" y="1836738"/>
            <a:ext cx="9226211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b="0"/>
            </a:lvl1pPr>
          </a:lstStyle>
          <a:p>
            <a:r>
              <a:rPr lang="de-DE" dirty="0"/>
              <a:t>Diese Folie ist für reinen </a:t>
            </a:r>
            <a:r>
              <a:rPr lang="de-DE" dirty="0" err="1"/>
              <a:t>Textsatz</a:t>
            </a:r>
            <a:r>
              <a:rPr lang="de-DE" dirty="0"/>
              <a:t> gedacht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F6B60F0-36B4-E849-963C-95CC74AAE7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5781FA42-C4E4-F04C-AA6A-20E2F31366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20F73E0A-A785-43BB-839F-83CEB32388ED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F56F54A3-56EC-0E4C-85DB-FED6BE7000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C71487BB-7AA1-7248-AFC9-D16F7E71E5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322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B6214C9-073F-654A-B020-C2387626B9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2924" y="1851252"/>
            <a:ext cx="11099799" cy="336550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="0"/>
            </a:lvl1pPr>
          </a:lstStyle>
          <a:p>
            <a:r>
              <a:rPr lang="de-DE" dirty="0"/>
              <a:t>Aufzählungspunkt 1 mit maximal drei Zeilen</a:t>
            </a:r>
          </a:p>
          <a:p>
            <a:r>
              <a:rPr lang="de-DE" dirty="0"/>
              <a:t>Aufzählungspunkt 2 mit maximal drei Zeilen</a:t>
            </a:r>
          </a:p>
          <a:p>
            <a:r>
              <a:rPr lang="de-DE" dirty="0"/>
              <a:t>Aufzählungspunkt 3 mit maximal drei Zeil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CA643E3-8D6C-164C-A00A-4BFD97A39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7BD6E2C-ECE9-EC4F-8B07-24E9710CE4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84A273FD-4E80-46A5-957C-33F202EBCB12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EE6180D5-DACD-0A4F-86A8-B931E113AB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E607476D-EC80-CC4D-A35D-04F65F96A1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69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227269B7-FDB2-1040-8717-2C36A004BE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685365" y="2922494"/>
            <a:ext cx="8695764" cy="0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B8B5688F-5599-1346-8408-04D5C56F29EB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53317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68EEF8EF-3582-164E-A540-B14FD04947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8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DA97644B-892A-134B-B132-02700EB8F25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557774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id="{80221500-6BE4-1F4E-A8A1-1AE09659E4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59482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751A12BD-9A93-FD47-B4DC-0962FD91163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533202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0D718433-B4D3-4745-9DCF-1C7008CF7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65647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FD0220CA-81AF-804B-BDE6-9B46B71520A6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9566688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F31B18BA-C61A-294A-B839-FE4249651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18679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57AB7773-FCD5-C843-BBC8-9E5417AB29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9DB1DC3E-7CCE-6D45-8BC0-D4A7E9FB95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5F26CDCE-C324-42F5-9B19-D99D655C8DD2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47DC4EEE-B073-5844-AC14-6AF99284FB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BFF71FC-8AB1-2340-A027-F737C0013A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2607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00DFA3B3-E49A-8846-98F6-F2F158128C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685365" y="2922494"/>
            <a:ext cx="8695764" cy="0"/>
          </a:xfrm>
          <a:prstGeom prst="line">
            <a:avLst/>
          </a:prstGeom>
          <a:ln w="50800">
            <a:solidFill>
              <a:srgbClr val="000E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7325DBFE-DE07-A34F-B212-866B5052711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53317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68EEF8EF-3582-164E-A540-B14FD04947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8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4DED43CF-0FD4-B54F-9CF7-8D46B2BDD34B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3557774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id="{80221500-6BE4-1F4E-A8A1-1AE09659E4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59482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B2BD17DF-9EE6-0B42-A65C-C758BB8091D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533202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id="{0D718433-B4D3-4745-9DCF-1C7008CF7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65647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BC9F923E-DFA2-A742-BF1F-31C0988AEFF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9566688" y="1844345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5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F31B18BA-C61A-294A-B839-FE4249651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18679" y="4398961"/>
            <a:ext cx="2039481" cy="1680106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57AB7773-FCD5-C843-BBC8-9E5417AB29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C7E7CA8C-BB37-9C4C-A27C-4CD6EF406E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230B4BF5-EE5C-4E28-9345-76544B625B71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CDA4ADD9-D92E-BE47-ADFB-5F67E1908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C70A2514-6BFD-754F-9BD8-C0784E67A7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2559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5A86C748-C93E-0148-B650-DC0878743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655205" y="1503741"/>
            <a:ext cx="3866122" cy="3866122"/>
          </a:xfrm>
          <a:prstGeom prst="ellipse">
            <a:avLst/>
          </a:prstGeom>
          <a:noFill/>
          <a:ln w="508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5034529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B6214C9-073F-654A-B020-C2387626B9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5" y="2235200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A6CAF18-CD90-DF45-97E3-A9B048913E5E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27067" y="5534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0A08D77-CD26-DA43-93F4-D654FE28F47F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95171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9FC8692A-CFDF-D940-B3C1-606BFC7CD27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427067" y="42110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7AFAADB3-A8F6-E24E-9766-6FAC7960E4AB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53515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CA643E3-8D6C-164C-A00A-4BFD97A39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B58E20DD-9A63-434A-AE5F-3E7C1CDA1D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D5454C09-E119-4738-9842-A40CA707F1E6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297752FF-5F17-AF48-9BEA-54BF4CBAD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C7749449-D6B1-5043-A9B8-FB63E0477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2970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aubil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5A86C748-C93E-0148-B650-DC08787432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655205" y="1503741"/>
            <a:ext cx="3866122" cy="3866122"/>
          </a:xfrm>
          <a:prstGeom prst="ellipse">
            <a:avLst/>
          </a:prstGeom>
          <a:noFill/>
          <a:ln w="50800">
            <a:solidFill>
              <a:srgbClr val="000E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5034529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B6214C9-073F-654A-B020-C2387626B9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5" y="2235200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8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A6CAF18-CD90-DF45-97E3-A9B048913E5E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427067" y="5534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FF6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0A08D77-CD26-DA43-93F4-D654FE28F47F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95171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3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9FC8692A-CFDF-D940-B3C1-606BFC7CD27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427067" y="42110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5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7AFAADB3-A8F6-E24E-9766-6FAC7960E4AB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5351524" y="2382221"/>
            <a:ext cx="2088000" cy="2088179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Hier kommt ein kleiner Fakt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CA643E3-8D6C-164C-A00A-4BFD97A39B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05AEA96E-75F6-E54C-A162-4718CEAF59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25F7431C-2307-469D-964D-46D145FA2A27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ECFEE57D-CE65-1548-B393-74933992D3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D7003CE0-7BEB-B944-BD33-62E66FC037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9479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73CD37A-E4E0-8342-B8E4-B2294A687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449" y="1732548"/>
            <a:ext cx="11070475" cy="16577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kann bis zu drei Zeil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9DFF96E-A5A5-2E40-BDAC-B8622B5C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266D266-582E-A24D-8870-688B0160AE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62789" y="178726"/>
            <a:ext cx="3236361" cy="1215371"/>
          </a:xfrm>
          <a:prstGeom prst="rect">
            <a:avLst/>
          </a:prstGeom>
        </p:spPr>
      </p:pic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B107C6-E6FF-F84C-9BAF-B142BB2AE3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8969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52117543-6690-ED41-AAED-3D97E604A7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2925" y="1836738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1D997F6E-5652-EF40-8CB1-CFCEC6E41C6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2925" y="4185491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357A8B9-E848-E248-8446-D040C17FF4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4785" y="1836739"/>
            <a:ext cx="7277939" cy="4456486"/>
          </a:xfrm>
        </p:spPr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659E6219-C60E-A148-8CBB-6143E8504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6B07B9FB-330C-4FD2-AC49-B6C1D94C908A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C0460B10-E335-DD4B-90B1-2EE22AFE48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52F621FE-29D4-0B4B-A0C3-234AC05C38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6205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52117543-6690-ED41-AAED-3D97E604A7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2925" y="1836738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1D997F6E-5652-EF40-8CB1-CFCEC6E41C6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2925" y="4185491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11A43E0D-859A-AA4A-83B7-CE15E29293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61884" y="1836738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11" name="Bildplatzhalter 5">
            <a:extLst>
              <a:ext uri="{FF2B5EF4-FFF2-40B4-BE49-F238E27FC236}">
                <a16:creationId xmlns:a16="http://schemas.microsoft.com/office/drawing/2014/main" id="{52776102-79BC-624A-BC3D-738B0725E8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61884" y="4185491"/>
            <a:ext cx="3580840" cy="2107733"/>
          </a:xfrm>
        </p:spPr>
        <p:txBody>
          <a:bodyPr/>
          <a:lstStyle/>
          <a:p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357A8B9-E848-E248-8446-D040C17FF4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64785" y="1836739"/>
            <a:ext cx="3458415" cy="4456486"/>
          </a:xfrm>
        </p:spPr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79DAE086-0507-8F49-B013-9334CF782B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ABB393AD-9432-4B2B-B5B3-C249E0F974D7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CDB45A49-B77E-5545-B2C2-BE683ABA9D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4750CC1-AAD2-9240-98F0-43C6F04C23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890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52117543-6690-ED41-AAED-3D97E604A7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2924" y="1836738"/>
            <a:ext cx="5375276" cy="423386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5E0B6CCE-213F-D04D-B6E7-6B0D708CEBF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448" y="1836738"/>
            <a:ext cx="5375276" cy="4233862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FC1E15CC-EE4D-7A4F-99C1-CA656F4E78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3EC69FA-B8CF-4898-9C16-C3EBE36B0FEB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FD45D05D-164D-8D45-BCD5-3E169F157D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13EDF5C1-D4A9-9349-9755-B7EE87C3D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8280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galer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218136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357A8B9-E848-E248-8446-D040C17FF4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2925" y="1836739"/>
            <a:ext cx="11099799" cy="4456486"/>
          </a:xfrm>
        </p:spPr>
        <p:txBody>
          <a:bodyPr/>
          <a:lstStyle/>
          <a:p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1BF75B0-2FFF-0E4C-B00E-B2A8600151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6755F255-D0B5-974D-ACE4-22F53D29E2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3EC7250F-4790-44DE-8010-97DF34F52FDA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E675F1EE-5DBC-6F4A-87E0-E4F6A6E8E4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984D9B94-D77A-8543-86E0-8B31B1DDC5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8570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37EB735B-68B0-5D46-B309-15F655F73EA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1999" cy="6857999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6338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tren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6" name="Textplatzhalter 16">
            <a:extLst>
              <a:ext uri="{FF2B5EF4-FFF2-40B4-BE49-F238E27FC236}">
                <a16:creationId xmlns:a16="http://schemas.microsoft.com/office/drawing/2014/main" id="{821C5294-385B-8346-A5B9-8CC008F5AF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5" y="1847545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290B531-B339-BC4B-9119-7825C3D59FE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59425" y="1836738"/>
            <a:ext cx="6083300" cy="4479925"/>
          </a:xfrm>
        </p:spPr>
        <p:txBody>
          <a:bodyPr/>
          <a:lstStyle/>
          <a:p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24E1E88B-5411-F34A-A244-988064B406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818A2FF5-90A9-474C-A180-32CDAF9F92D8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CAE40765-BCAA-964C-ABC1-DC0C83A3F4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D8DC828C-1B22-F744-8ABF-A503F48E90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221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370E4ED-E1B4-3649-9AE3-C4F31F998D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55108"/>
            <a:ext cx="3525197" cy="360000"/>
          </a:xfrm>
          <a:prstGeom prst="homePlate">
            <a:avLst/>
          </a:prstGeom>
          <a:solidFill>
            <a:srgbClr val="E8EDF3"/>
          </a:solidFill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4440536-74FF-CC4F-A7A9-D20351F71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3154" y="2624302"/>
            <a:ext cx="3322160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15941BF-D0CA-C146-A6CB-1EE6E49AD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8514" y="1855108"/>
            <a:ext cx="3525360" cy="360000"/>
          </a:xfrm>
          <a:prstGeom prst="chevron">
            <a:avLst/>
          </a:prstGeom>
          <a:solidFill>
            <a:srgbClr val="E8EDF3"/>
          </a:solidFill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5D7ACBC6-EB4C-2D43-A650-4B43034709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8958" y="2624188"/>
            <a:ext cx="3345246" cy="3341184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 b="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A413F01-6A64-A84C-AA3C-A11DF02E6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3711" y="1855108"/>
            <a:ext cx="3525360" cy="360000"/>
          </a:xfrm>
          <a:prstGeom prst="chevron">
            <a:avLst/>
          </a:prstGeom>
          <a:solidFill>
            <a:srgbClr val="E8EDF3"/>
          </a:solidFill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77A9B01D-D08C-D54C-9380-2F4E4ADB64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03711" y="2624303"/>
            <a:ext cx="3324789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CBA8FAE8-33E3-194C-A6E9-A5FD06E620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F6DD6AD7-05C8-416B-A1E4-6C374EFDB38A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3280F17B-FA92-C345-A595-18015E6611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EE96DE38-1100-8F47-84C2-D8FED0BFE5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3718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370E4ED-E1B4-3649-9AE3-C4F31F998D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55108"/>
            <a:ext cx="3525197" cy="360000"/>
          </a:xfrm>
          <a:prstGeom prst="homePlate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4440536-74FF-CC4F-A7A9-D20351F71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3154" y="2624302"/>
            <a:ext cx="3322160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15941BF-D0CA-C146-A6CB-1EE6E49AD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8514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5D7ACBC6-EB4C-2D43-A650-4B43034709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8958" y="2624188"/>
            <a:ext cx="3345246" cy="3341184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 b="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A413F01-6A64-A84C-AA3C-A11DF02E6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3711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77A9B01D-D08C-D54C-9380-2F4E4ADB64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03711" y="2624303"/>
            <a:ext cx="3324789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5FE5D89B-C877-1844-BE95-6B6161BA8D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4025432-286C-4CE0-88BB-4B5E35B78761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0063FBA5-CB67-E041-803D-B77E435EB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3DDF52C0-4188-5A47-9031-4EC0E2BEA4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5717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206561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3370E4ED-E1B4-3649-9AE3-C4F31F998D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55108"/>
            <a:ext cx="3525197" cy="360000"/>
          </a:xfrm>
          <a:prstGeom prst="homePlate">
            <a:avLst/>
          </a:prstGeom>
          <a:noFill/>
          <a:ln w="31750">
            <a:solidFill>
              <a:schemeClr val="accent2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4440536-74FF-CC4F-A7A9-D20351F710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3154" y="2624302"/>
            <a:ext cx="3322160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015941BF-D0CA-C146-A6CB-1EE6E49ADA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8514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4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5D7ACBC6-EB4C-2D43-A650-4B43034709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8958" y="2624188"/>
            <a:ext cx="3345246" cy="3341184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 b="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A413F01-6A64-A84C-AA3C-A11DF02E6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3711" y="1855108"/>
            <a:ext cx="3525360" cy="360000"/>
          </a:xfrm>
          <a:prstGeom prst="chevron">
            <a:avLst/>
          </a:prstGeom>
          <a:noFill/>
          <a:ln w="31750">
            <a:solidFill>
              <a:schemeClr val="accent3"/>
            </a:solidFill>
          </a:ln>
        </p:spPr>
        <p:txBody>
          <a:bodyPr lIns="36000" tIns="0" rIns="36000" bIns="36000" anchor="ctr" anchorCtr="0"/>
          <a:lstStyle>
            <a:lvl1pPr algn="ctr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77A9B01D-D08C-D54C-9380-2F4E4ADB64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03711" y="2624303"/>
            <a:ext cx="3324789" cy="3342397"/>
          </a:xfrm>
        </p:spPr>
        <p:txBody>
          <a:bodyPr/>
          <a:lstStyle>
            <a:lvl1pPr>
              <a:lnSpc>
                <a:spcPts val="2400"/>
              </a:lnSpc>
              <a:defRPr sz="1600" b="1"/>
            </a:lvl1pPr>
            <a:lvl2pPr marL="212400" indent="-212400">
              <a:lnSpc>
                <a:spcPts val="2400"/>
              </a:lnSpc>
              <a:buFont typeface="Arial" panose="020B0604020202020204" pitchFamily="34" charset="0"/>
              <a:buChar char="•"/>
              <a:defRPr sz="1600"/>
            </a:lvl2pPr>
            <a:lvl3pPr marL="424800" indent="-212400">
              <a:lnSpc>
                <a:spcPts val="2400"/>
              </a:lnSpc>
              <a:buFont typeface="Symbol" panose="05050102010706020507" pitchFamily="18" charset="2"/>
              <a:buChar char="-"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EC7C4998-48D2-C141-9008-8F2D23798F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C077131-0103-4D24-8429-52E865E59EF6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D904216-61E2-D849-AE8C-B2B0C5F54D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E11423A9-0D3B-EB48-A235-6B2422FA9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3506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9498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1" name="Textplatzhalter 7">
            <a:extLst>
              <a:ext uri="{FF2B5EF4-FFF2-40B4-BE49-F238E27FC236}">
                <a16:creationId xmlns:a16="http://schemas.microsoft.com/office/drawing/2014/main" id="{708A4B54-4BCD-A247-8E20-04367C8626C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317" y="1836738"/>
            <a:ext cx="1769065" cy="514576"/>
          </a:xfrm>
          <a:prstGeom prst="roundRect">
            <a:avLst/>
          </a:prstGeom>
          <a:solidFill>
            <a:schemeClr val="bg1"/>
          </a:solidFill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091" y="1836738"/>
            <a:ext cx="2928677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30DCE407-4208-1F4B-A3ED-EDB1296CF5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0477" y="1836738"/>
            <a:ext cx="2869409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7169B21A-84DD-6546-B10A-903006C6DC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14908" y="1836738"/>
            <a:ext cx="2927816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2" name="1">
            <a:extLst>
              <a:ext uri="{FF2B5EF4-FFF2-40B4-BE49-F238E27FC236}">
                <a16:creationId xmlns:a16="http://schemas.microsoft.com/office/drawing/2014/main" id="{8617A0E1-5D1D-064B-BA4A-BAAC1D1B9B0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53317" y="2523299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2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2432" y="2523299"/>
            <a:ext cx="2928677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3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51159" y="2523299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2" name="4">
            <a:extLst>
              <a:ext uri="{FF2B5EF4-FFF2-40B4-BE49-F238E27FC236}">
                <a16:creationId xmlns:a16="http://schemas.microsoft.com/office/drawing/2014/main" id="{A4BD3D4D-893B-DF40-9931-948A2528B51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15931" y="2523299"/>
            <a:ext cx="2927816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3" name="5">
            <a:extLst>
              <a:ext uri="{FF2B5EF4-FFF2-40B4-BE49-F238E27FC236}">
                <a16:creationId xmlns:a16="http://schemas.microsoft.com/office/drawing/2014/main" id="{5BD50C54-73AB-054A-A0A5-60AF673963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53317" y="3802743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6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2091" y="3802743"/>
            <a:ext cx="2928677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4" name="7">
            <a:extLst>
              <a:ext uri="{FF2B5EF4-FFF2-40B4-BE49-F238E27FC236}">
                <a16:creationId xmlns:a16="http://schemas.microsoft.com/office/drawing/2014/main" id="{1ED36742-CF66-A74C-B67B-7B57703E21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50477" y="3802743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5" name="8">
            <a:extLst>
              <a:ext uri="{FF2B5EF4-FFF2-40B4-BE49-F238E27FC236}">
                <a16:creationId xmlns:a16="http://schemas.microsoft.com/office/drawing/2014/main" id="{A3EE227C-7AE6-2C48-B585-223A3C01983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14908" y="3802743"/>
            <a:ext cx="2927816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9" name="9">
            <a:extLst>
              <a:ext uri="{FF2B5EF4-FFF2-40B4-BE49-F238E27FC236}">
                <a16:creationId xmlns:a16="http://schemas.microsoft.com/office/drawing/2014/main" id="{F236F796-1C7E-5748-ABC4-4E8975DB434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53317" y="5082187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10">
            <a:extLst>
              <a:ext uri="{FF2B5EF4-FFF2-40B4-BE49-F238E27FC236}">
                <a16:creationId xmlns:a16="http://schemas.microsoft.com/office/drawing/2014/main" id="{39CA9239-F1B9-1548-86A1-BD6028C1ECE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22091" y="5082187"/>
            <a:ext cx="2928677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11">
            <a:extLst>
              <a:ext uri="{FF2B5EF4-FFF2-40B4-BE49-F238E27FC236}">
                <a16:creationId xmlns:a16="http://schemas.microsoft.com/office/drawing/2014/main" id="{8E3FC5AB-5E3B-A74E-BF06-264E63F7337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650477" y="5082187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12">
            <a:extLst>
              <a:ext uri="{FF2B5EF4-FFF2-40B4-BE49-F238E27FC236}">
                <a16:creationId xmlns:a16="http://schemas.microsoft.com/office/drawing/2014/main" id="{BC78CFA6-EE0B-BB4E-80B5-CF4846CD958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14908" y="5082187"/>
            <a:ext cx="2927816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E44492A0-C3B7-884A-854F-A0CA1DADE0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C00AC554-2F37-45A7-B135-A38966CEBC3E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C5862D61-40F3-0C47-B212-F71E1DD0D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3E7325AB-2C9E-A545-8345-624EB54417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5124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873CD37A-E4E0-8342-B8E4-B2294A687C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449" y="1732548"/>
            <a:ext cx="6262689" cy="16577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kann bis zu drei Zeil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09DFF96E-A5A5-2E40-BDAC-B8622B5C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450" y="3779838"/>
            <a:ext cx="11070474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Zusatzinfos, wenn notwendig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E06A357-5195-FD43-A0B6-371C709A2FC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34238" y="0"/>
            <a:ext cx="4957762" cy="6858000"/>
          </a:xfrm>
        </p:spPr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4B6335B-2A82-5540-919C-99E92CE651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0184" y="178726"/>
            <a:ext cx="3236361" cy="121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026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1" name="1">
            <a:extLst>
              <a:ext uri="{FF2B5EF4-FFF2-40B4-BE49-F238E27FC236}">
                <a16:creationId xmlns:a16="http://schemas.microsoft.com/office/drawing/2014/main" id="{708A4B54-4BCD-A247-8E20-04367C8626C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317" y="1836738"/>
            <a:ext cx="1769065" cy="514576"/>
          </a:xfrm>
          <a:prstGeom prst="roundRect">
            <a:avLst/>
          </a:prstGeom>
          <a:solidFill>
            <a:schemeClr val="bg1"/>
          </a:solidFill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7" name="2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091" y="1836738"/>
            <a:ext cx="2928677" cy="514576"/>
          </a:xfrm>
          <a:prstGeom prst="roundRect">
            <a:avLst/>
          </a:prstGeom>
          <a:noFill/>
          <a:ln w="31750">
            <a:solidFill>
              <a:schemeClr val="accent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8" name="3">
            <a:extLst>
              <a:ext uri="{FF2B5EF4-FFF2-40B4-BE49-F238E27FC236}">
                <a16:creationId xmlns:a16="http://schemas.microsoft.com/office/drawing/2014/main" id="{30DCE407-4208-1F4B-A3ED-EDB1296CF5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0477" y="1836738"/>
            <a:ext cx="2869409" cy="514576"/>
          </a:xfrm>
          <a:prstGeom prst="roundRect">
            <a:avLst/>
          </a:prstGeom>
          <a:noFill/>
          <a:ln w="31750">
            <a:solidFill>
              <a:schemeClr val="accent5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1" name="4">
            <a:extLst>
              <a:ext uri="{FF2B5EF4-FFF2-40B4-BE49-F238E27FC236}">
                <a16:creationId xmlns:a16="http://schemas.microsoft.com/office/drawing/2014/main" id="{7169B21A-84DD-6546-B10A-903006C6DC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14908" y="1836738"/>
            <a:ext cx="2927816" cy="514576"/>
          </a:xfrm>
          <a:prstGeom prst="roundRect">
            <a:avLst/>
          </a:prstGeom>
          <a:noFill/>
          <a:ln w="31750">
            <a:solidFill>
              <a:schemeClr val="accent3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2" name="5">
            <a:extLst>
              <a:ext uri="{FF2B5EF4-FFF2-40B4-BE49-F238E27FC236}">
                <a16:creationId xmlns:a16="http://schemas.microsoft.com/office/drawing/2014/main" id="{8617A0E1-5D1D-064B-BA4A-BAAC1D1B9B0C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53317" y="2523299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6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2432" y="2523299"/>
            <a:ext cx="2928677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7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51159" y="2523299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2" name="8">
            <a:extLst>
              <a:ext uri="{FF2B5EF4-FFF2-40B4-BE49-F238E27FC236}">
                <a16:creationId xmlns:a16="http://schemas.microsoft.com/office/drawing/2014/main" id="{A4BD3D4D-893B-DF40-9931-948A2528B51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15931" y="2523299"/>
            <a:ext cx="2927816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3" name="9">
            <a:extLst>
              <a:ext uri="{FF2B5EF4-FFF2-40B4-BE49-F238E27FC236}">
                <a16:creationId xmlns:a16="http://schemas.microsoft.com/office/drawing/2014/main" id="{5BD50C54-73AB-054A-A0A5-60AF673963B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53317" y="3802743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10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2091" y="3802743"/>
            <a:ext cx="2928677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4" name="11">
            <a:extLst>
              <a:ext uri="{FF2B5EF4-FFF2-40B4-BE49-F238E27FC236}">
                <a16:creationId xmlns:a16="http://schemas.microsoft.com/office/drawing/2014/main" id="{1ED36742-CF66-A74C-B67B-7B57703E21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50477" y="3802743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5" name="12">
            <a:extLst>
              <a:ext uri="{FF2B5EF4-FFF2-40B4-BE49-F238E27FC236}">
                <a16:creationId xmlns:a16="http://schemas.microsoft.com/office/drawing/2014/main" id="{A3EE227C-7AE6-2C48-B585-223A3C01983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714908" y="3802743"/>
            <a:ext cx="2927816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9" name="13">
            <a:extLst>
              <a:ext uri="{FF2B5EF4-FFF2-40B4-BE49-F238E27FC236}">
                <a16:creationId xmlns:a16="http://schemas.microsoft.com/office/drawing/2014/main" id="{F236F796-1C7E-5748-ABC4-4E8975DB434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553317" y="5082187"/>
            <a:ext cx="1769065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14">
            <a:extLst>
              <a:ext uri="{FF2B5EF4-FFF2-40B4-BE49-F238E27FC236}">
                <a16:creationId xmlns:a16="http://schemas.microsoft.com/office/drawing/2014/main" id="{39CA9239-F1B9-1548-86A1-BD6028C1ECE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22091" y="5082187"/>
            <a:ext cx="2928677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15">
            <a:extLst>
              <a:ext uri="{FF2B5EF4-FFF2-40B4-BE49-F238E27FC236}">
                <a16:creationId xmlns:a16="http://schemas.microsoft.com/office/drawing/2014/main" id="{8E3FC5AB-5E3B-A74E-BF06-264E63F7337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650477" y="5082187"/>
            <a:ext cx="2869409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16">
            <a:extLst>
              <a:ext uri="{FF2B5EF4-FFF2-40B4-BE49-F238E27FC236}">
                <a16:creationId xmlns:a16="http://schemas.microsoft.com/office/drawing/2014/main" id="{BC78CFA6-EE0B-BB4E-80B5-CF4846CD958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14908" y="5082187"/>
            <a:ext cx="2927816" cy="1107459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27F902C3-BFB2-FE47-8A0F-E5F7285224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A68E7D79-29D2-44C5-BFAE-D84AC259DB1E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319BC662-7E15-CD4A-8A3C-60AEF4429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6D6CD750-B0AC-D54A-BB8C-CCAA088D8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552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2925" y="1836738"/>
            <a:ext cx="3397308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3266" y="2523299"/>
            <a:ext cx="2928677" cy="3666347"/>
          </a:xfrm>
          <a:prstGeom prst="rect">
            <a:avLst/>
          </a:prstGeom>
          <a:noFill/>
          <a:ln w="31750">
            <a:noFill/>
          </a:ln>
        </p:spPr>
        <p:txBody>
          <a:bodyPr lIns="90000" tIns="90000" rIns="90000" bIns="90000"/>
          <a:lstStyle>
            <a:lvl1pPr>
              <a:lnSpc>
                <a:spcPct val="100000"/>
              </a:lnSpc>
              <a:defRPr sz="16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600"/>
            </a:lvl2pPr>
            <a:lvl3pPr marL="0" indent="0">
              <a:lnSpc>
                <a:spcPct val="100000"/>
              </a:lnSpc>
              <a:buFontTx/>
              <a:buNone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E9AABCF9-77E8-4E4C-86B7-F4C7B35A03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72781" y="1836738"/>
            <a:ext cx="3397308" cy="514576"/>
          </a:xfrm>
          <a:prstGeom prst="roundRect">
            <a:avLst/>
          </a:prstGeom>
          <a:noFill/>
          <a:ln w="31750">
            <a:solidFill>
              <a:schemeClr val="accent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72781" y="2523299"/>
            <a:ext cx="2869409" cy="3666347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6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2pPr>
            <a:lvl3pPr marL="0" indent="0">
              <a:lnSpc>
                <a:spcPct val="100000"/>
              </a:lnSpc>
              <a:buFontTx/>
              <a:buNone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6" name="Textplatzhalter 7">
            <a:extLst>
              <a:ext uri="{FF2B5EF4-FFF2-40B4-BE49-F238E27FC236}">
                <a16:creationId xmlns:a16="http://schemas.microsoft.com/office/drawing/2014/main" id="{8FEF1292-A53E-024C-B6BB-6ED92FD8377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02637" y="1836738"/>
            <a:ext cx="3397308" cy="514576"/>
          </a:xfrm>
          <a:prstGeom prst="roundRect">
            <a:avLst/>
          </a:prstGeom>
          <a:noFill/>
          <a:ln w="31750">
            <a:solidFill>
              <a:schemeClr val="accent3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2D42C9F7-C506-9E49-8D7D-EA05195A657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02637" y="2523299"/>
            <a:ext cx="2869409" cy="3666347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6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2pPr>
            <a:lvl3pPr marL="0" indent="0">
              <a:lnSpc>
                <a:spcPct val="100000"/>
              </a:lnSpc>
              <a:buFontTx/>
              <a:buNone/>
              <a:defRPr sz="16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AD7F87DF-C9C7-2346-AA86-70A983814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891CD726-7599-4F19-B908-DAC240A66D14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7CF02E38-F3DD-1E46-BBF5-26344370B3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F44221D6-3911-7241-A3B1-47DFD9BE9B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9142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3317" y="1836737"/>
            <a:ext cx="2928677" cy="1162717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74763" y="1864365"/>
            <a:ext cx="7867962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984DD7DD-9B11-E74C-BDD0-41A6AA44A5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3317" y="3446877"/>
            <a:ext cx="2928677" cy="1162717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14500D56-64DF-B544-B287-032D8D76B7E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774763" y="3434748"/>
            <a:ext cx="7867962" cy="117484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06DACB99-025F-AD46-94DF-81BDEDAD148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3317" y="5029389"/>
            <a:ext cx="2928677" cy="1162717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71C774DD-5ABA-704E-86DE-424F383600C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74763" y="5057017"/>
            <a:ext cx="7867962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798E11E-F400-4748-9524-EF72A3F0A5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2475DE3D-0E48-4E59-8FE7-31D0EBEDC4FA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0E8C42CC-0D79-C848-AE21-D3E3408414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3F781F2F-44F0-384C-BC33-212BD2980C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8510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1552" y="1836738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1893" y="2523299"/>
            <a:ext cx="5401464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7994CC82-11B6-AC48-B612-4D088DAF055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26978" y="1836738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7" name="Textplatzhalter 10">
            <a:extLst>
              <a:ext uri="{FF2B5EF4-FFF2-40B4-BE49-F238E27FC236}">
                <a16:creationId xmlns:a16="http://schemas.microsoft.com/office/drawing/2014/main" id="{0680F109-3801-1D44-A4D4-ECE52677E0E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32029" y="2523299"/>
            <a:ext cx="5396413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4" name="Textplatzhalter 7">
            <a:extLst>
              <a:ext uri="{FF2B5EF4-FFF2-40B4-BE49-F238E27FC236}">
                <a16:creationId xmlns:a16="http://schemas.microsoft.com/office/drawing/2014/main" id="{889B206E-E91B-E54B-9FA6-3720B977946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1552" y="4063103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5" name="Textplatzhalter 10">
            <a:extLst>
              <a:ext uri="{FF2B5EF4-FFF2-40B4-BE49-F238E27FC236}">
                <a16:creationId xmlns:a16="http://schemas.microsoft.com/office/drawing/2014/main" id="{14842409-97C8-DC4B-93A3-0F01342703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86603" y="4749664"/>
            <a:ext cx="5396413" cy="1107459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3519EE78-5ED4-784E-952E-AA58807190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46856" y="4063103"/>
            <a:ext cx="5401464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2E215456-3C4C-7241-A3AD-04EFF945060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47197" y="4749664"/>
            <a:ext cx="5401464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075E585C-061A-0B4A-A971-2E9E9B08D0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90E59CE2-02DC-4196-A467-1A9967BB8EDE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D987E442-0F83-F846-9687-226A2841A0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29355B20-19AD-1349-BDA2-13D72498B7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6784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1" name="1">
            <a:extLst>
              <a:ext uri="{FF2B5EF4-FFF2-40B4-BE49-F238E27FC236}">
                <a16:creationId xmlns:a16="http://schemas.microsoft.com/office/drawing/2014/main" id="{708A4B54-4BCD-A247-8E20-04367C8626C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3317" y="1836738"/>
            <a:ext cx="1769065" cy="514576"/>
          </a:xfrm>
          <a:prstGeom prst="roundRect">
            <a:avLst/>
          </a:prstGeom>
          <a:solidFill>
            <a:srgbClr val="00FF64"/>
          </a:solidFill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7" name="2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092" y="1836738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68" name="3">
            <a:extLst>
              <a:ext uri="{FF2B5EF4-FFF2-40B4-BE49-F238E27FC236}">
                <a16:creationId xmlns:a16="http://schemas.microsoft.com/office/drawing/2014/main" id="{0BEF317C-2388-754C-A015-BC61BB62723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837459" y="1836738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80" name="4">
            <a:extLst>
              <a:ext uri="{FF2B5EF4-FFF2-40B4-BE49-F238E27FC236}">
                <a16:creationId xmlns:a16="http://schemas.microsoft.com/office/drawing/2014/main" id="{32767D53-C69C-0249-B7B1-1DB46AC74D6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152826" y="1842464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84" name="5">
            <a:extLst>
              <a:ext uri="{FF2B5EF4-FFF2-40B4-BE49-F238E27FC236}">
                <a16:creationId xmlns:a16="http://schemas.microsoft.com/office/drawing/2014/main" id="{4D6AB3E3-0603-414E-AEE5-7D001BC24A1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457801" y="1845436"/>
            <a:ext cx="210526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5" name="6">
            <a:extLst>
              <a:ext uri="{FF2B5EF4-FFF2-40B4-BE49-F238E27FC236}">
                <a16:creationId xmlns:a16="http://schemas.microsoft.com/office/drawing/2014/main" id="{8DE57EBD-E47F-F04B-8C91-28D054F027B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53317" y="2523298"/>
            <a:ext cx="1769065" cy="1107459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100" b="1">
                <a:solidFill>
                  <a:srgbClr val="000000"/>
                </a:solidFill>
              </a:defRPr>
            </a:lvl2pPr>
            <a:lvl3pPr marL="0" indent="0">
              <a:buFontTx/>
              <a:buNone/>
              <a:defRPr sz="1100" b="1">
                <a:solidFill>
                  <a:srgbClr val="000000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9" name="7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2433" y="2523299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69" name="8">
            <a:extLst>
              <a:ext uri="{FF2B5EF4-FFF2-40B4-BE49-F238E27FC236}">
                <a16:creationId xmlns:a16="http://schemas.microsoft.com/office/drawing/2014/main" id="{4DEB6975-B476-2E40-B236-CDC790CC0CE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4837800" y="2523299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1" name="9">
            <a:extLst>
              <a:ext uri="{FF2B5EF4-FFF2-40B4-BE49-F238E27FC236}">
                <a16:creationId xmlns:a16="http://schemas.microsoft.com/office/drawing/2014/main" id="{7DB8F6B2-B208-7B4B-BCF4-66E70FF9527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7153167" y="2529025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5" name="10">
            <a:extLst>
              <a:ext uri="{FF2B5EF4-FFF2-40B4-BE49-F238E27FC236}">
                <a16:creationId xmlns:a16="http://schemas.microsoft.com/office/drawing/2014/main" id="{5E6B7149-D0CC-C741-A08D-6BA35B7E41AF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458142" y="2531997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6" name="11">
            <a:extLst>
              <a:ext uri="{FF2B5EF4-FFF2-40B4-BE49-F238E27FC236}">
                <a16:creationId xmlns:a16="http://schemas.microsoft.com/office/drawing/2014/main" id="{70B52346-B2C8-A847-A2C7-845A37A7C38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2925" y="3782570"/>
            <a:ext cx="1769065" cy="1127632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100" b="1">
                <a:solidFill>
                  <a:srgbClr val="000000"/>
                </a:solidFill>
              </a:defRPr>
            </a:lvl2pPr>
            <a:lvl3pPr marL="0" indent="0">
              <a:buFontTx/>
              <a:buNone/>
              <a:defRPr sz="1100" b="1">
                <a:solidFill>
                  <a:srgbClr val="000000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3" name="12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22092" y="3802743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0" name="13">
            <a:extLst>
              <a:ext uri="{FF2B5EF4-FFF2-40B4-BE49-F238E27FC236}">
                <a16:creationId xmlns:a16="http://schemas.microsoft.com/office/drawing/2014/main" id="{94AED96F-78DF-2644-BDAC-9B09C326ACF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4837459" y="3802743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2" name="14">
            <a:extLst>
              <a:ext uri="{FF2B5EF4-FFF2-40B4-BE49-F238E27FC236}">
                <a16:creationId xmlns:a16="http://schemas.microsoft.com/office/drawing/2014/main" id="{8A0997B9-9B67-AD4B-9D12-BE8CB7FDC19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152826" y="3808469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6" name="15">
            <a:extLst>
              <a:ext uri="{FF2B5EF4-FFF2-40B4-BE49-F238E27FC236}">
                <a16:creationId xmlns:a16="http://schemas.microsoft.com/office/drawing/2014/main" id="{E05C63AE-235B-D84D-B8BF-1600EFC60F44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457801" y="3811441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8" name="16">
            <a:extLst>
              <a:ext uri="{FF2B5EF4-FFF2-40B4-BE49-F238E27FC236}">
                <a16:creationId xmlns:a16="http://schemas.microsoft.com/office/drawing/2014/main" id="{AC8FE06B-6256-6047-B8AB-986EF6467D4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42924" y="5062014"/>
            <a:ext cx="1769065" cy="1127632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l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100" b="1">
                <a:solidFill>
                  <a:srgbClr val="000000"/>
                </a:solidFill>
              </a:defRPr>
            </a:lvl2pPr>
            <a:lvl3pPr marL="0" indent="0">
              <a:buFontTx/>
              <a:buNone/>
              <a:defRPr sz="1100" b="1">
                <a:solidFill>
                  <a:srgbClr val="000000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17">
            <a:extLst>
              <a:ext uri="{FF2B5EF4-FFF2-40B4-BE49-F238E27FC236}">
                <a16:creationId xmlns:a16="http://schemas.microsoft.com/office/drawing/2014/main" id="{39CA9239-F1B9-1548-86A1-BD6028C1ECE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22092" y="5082187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67" name="18">
            <a:extLst>
              <a:ext uri="{FF2B5EF4-FFF2-40B4-BE49-F238E27FC236}">
                <a16:creationId xmlns:a16="http://schemas.microsoft.com/office/drawing/2014/main" id="{B4063A4B-B675-544C-960B-811459D660AE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837459" y="5082187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79" name="19">
            <a:extLst>
              <a:ext uri="{FF2B5EF4-FFF2-40B4-BE49-F238E27FC236}">
                <a16:creationId xmlns:a16="http://schemas.microsoft.com/office/drawing/2014/main" id="{1FC548FC-56A9-DC47-8CFA-566CAFD99E76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152826" y="5087913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3" name="20">
            <a:extLst>
              <a:ext uri="{FF2B5EF4-FFF2-40B4-BE49-F238E27FC236}">
                <a16:creationId xmlns:a16="http://schemas.microsoft.com/office/drawing/2014/main" id="{F77FF8C5-7E54-F84F-84E7-99F16ECC322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457801" y="5090885"/>
            <a:ext cx="2105265" cy="1107459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B5F4FB92-0592-1B40-B5A8-4FADE6DCA7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71A29148-D6A0-4DCE-BF21-D110266E9F3E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38AE644D-FF86-1B4D-94AC-94D5E39E7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BFC115A7-F311-CC42-81EE-6542F30EC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1265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18341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8456" y="1836738"/>
            <a:ext cx="2648946" cy="28982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9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D9D8257-E29B-D148-9FAE-0A37DD128AA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448456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1" name="Textplatzhalter 10">
            <a:extLst>
              <a:ext uri="{FF2B5EF4-FFF2-40B4-BE49-F238E27FC236}">
                <a16:creationId xmlns:a16="http://schemas.microsoft.com/office/drawing/2014/main" id="{36620C14-D0C5-B844-B68D-DAD5BCFBB7F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115438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2" name="Textplatzhalter 10">
            <a:extLst>
              <a:ext uri="{FF2B5EF4-FFF2-40B4-BE49-F238E27FC236}">
                <a16:creationId xmlns:a16="http://schemas.microsoft.com/office/drawing/2014/main" id="{98C8C908-76FE-7E4D-9E7D-1F32717EED6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782420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4" name="Textplatzhalter 10">
            <a:extLst>
              <a:ext uri="{FF2B5EF4-FFF2-40B4-BE49-F238E27FC236}">
                <a16:creationId xmlns:a16="http://schemas.microsoft.com/office/drawing/2014/main" id="{41A0B37B-10AB-2F44-8580-CDB509F6457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449402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5F238C55-3517-9642-BC91-DA0277982D1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20351" y="1836738"/>
            <a:ext cx="2648946" cy="28982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9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37" name="Textplatzhalter 10">
            <a:extLst>
              <a:ext uri="{FF2B5EF4-FFF2-40B4-BE49-F238E27FC236}">
                <a16:creationId xmlns:a16="http://schemas.microsoft.com/office/drawing/2014/main" id="{1BD6975A-B5F4-524A-8315-5D3297183D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20351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B8EA3DAB-8734-874F-B11F-D978C0406371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887333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0" name="Textplatzhalter 10">
            <a:extLst>
              <a:ext uri="{FF2B5EF4-FFF2-40B4-BE49-F238E27FC236}">
                <a16:creationId xmlns:a16="http://schemas.microsoft.com/office/drawing/2014/main" id="{6B879FA7-3748-F047-BB35-48714213B6C9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554315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2" name="Textplatzhalter 10">
            <a:extLst>
              <a:ext uri="{FF2B5EF4-FFF2-40B4-BE49-F238E27FC236}">
                <a16:creationId xmlns:a16="http://schemas.microsoft.com/office/drawing/2014/main" id="{FCE243B3-EF20-FF47-AC7B-D117195A0E0F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221297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C98F487D-B574-DA46-8AD7-F6AC14BA90B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989107" y="1836738"/>
            <a:ext cx="2648946" cy="28982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9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44" name="Textplatzhalter 10">
            <a:extLst>
              <a:ext uri="{FF2B5EF4-FFF2-40B4-BE49-F238E27FC236}">
                <a16:creationId xmlns:a16="http://schemas.microsoft.com/office/drawing/2014/main" id="{31F9DA6E-F645-3D4E-AFEF-3D7D33764F7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89107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5" name="Textplatzhalter 10">
            <a:extLst>
              <a:ext uri="{FF2B5EF4-FFF2-40B4-BE49-F238E27FC236}">
                <a16:creationId xmlns:a16="http://schemas.microsoft.com/office/drawing/2014/main" id="{14600142-9296-604E-ACD4-D362D3B5F407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656089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6" name="Textplatzhalter 10">
            <a:extLst>
              <a:ext uri="{FF2B5EF4-FFF2-40B4-BE49-F238E27FC236}">
                <a16:creationId xmlns:a16="http://schemas.microsoft.com/office/drawing/2014/main" id="{705F006C-F68A-0841-8927-D57528DFCDF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323071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02A77EE9-947F-2F4F-BE0E-DF08A799A5C0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0990053" y="2172685"/>
            <a:ext cx="648000" cy="208800"/>
          </a:xfrm>
          <a:solidFill>
            <a:srgbClr val="E8EDF3"/>
          </a:solidFill>
        </p:spPr>
        <p:txBody>
          <a:bodyPr lIns="72000" tIns="72000" rIns="72000" bIns="90000" anchor="ctr" anchorCtr="0"/>
          <a:lstStyle>
            <a:lvl1pPr>
              <a:lnSpc>
                <a:spcPct val="100000"/>
              </a:lnSpc>
              <a:defRPr sz="700" b="0">
                <a:solidFill>
                  <a:srgbClr val="000000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Quartal</a:t>
            </a:r>
          </a:p>
        </p:txBody>
      </p: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6093" y="2444399"/>
            <a:ext cx="11131960" cy="268321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F5DB62BB-F35D-C145-90F1-9726E96EF264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506093" y="2749199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21DFF391-B7DA-CA46-807F-83BF2C5D9032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506093" y="3057269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0" name="Textplatzhalter 10">
            <a:extLst>
              <a:ext uri="{FF2B5EF4-FFF2-40B4-BE49-F238E27FC236}">
                <a16:creationId xmlns:a16="http://schemas.microsoft.com/office/drawing/2014/main" id="{59FBE8AB-277B-7A43-A344-BF169D68082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506093" y="3467577"/>
            <a:ext cx="11131960" cy="268321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1" name="Textplatzhalter 10">
            <a:extLst>
              <a:ext uri="{FF2B5EF4-FFF2-40B4-BE49-F238E27FC236}">
                <a16:creationId xmlns:a16="http://schemas.microsoft.com/office/drawing/2014/main" id="{3FF32CE1-23E7-6044-A9A8-FACA3BBE3A89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506093" y="3772377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2" name="Textplatzhalter 10">
            <a:extLst>
              <a:ext uri="{FF2B5EF4-FFF2-40B4-BE49-F238E27FC236}">
                <a16:creationId xmlns:a16="http://schemas.microsoft.com/office/drawing/2014/main" id="{0F7AD7B8-0387-CC48-9B15-42136930F9E1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506093" y="4080447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3" name="Textplatzhalter 10">
            <a:extLst>
              <a:ext uri="{FF2B5EF4-FFF2-40B4-BE49-F238E27FC236}">
                <a16:creationId xmlns:a16="http://schemas.microsoft.com/office/drawing/2014/main" id="{4D0E52B4-FEA9-044E-8E71-D80F1039AAC2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506093" y="4496768"/>
            <a:ext cx="11131960" cy="268321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4" name="Textplatzhalter 10">
            <a:extLst>
              <a:ext uri="{FF2B5EF4-FFF2-40B4-BE49-F238E27FC236}">
                <a16:creationId xmlns:a16="http://schemas.microsoft.com/office/drawing/2014/main" id="{D9C1CB0A-D354-554F-8E0D-F88A92725EDE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506093" y="4801568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55" name="Textplatzhalter 10">
            <a:extLst>
              <a:ext uri="{FF2B5EF4-FFF2-40B4-BE49-F238E27FC236}">
                <a16:creationId xmlns:a16="http://schemas.microsoft.com/office/drawing/2014/main" id="{52253BF8-D710-2243-BC03-CBC7418755EA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506093" y="5109638"/>
            <a:ext cx="11131960" cy="268321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61" name="Textplatzhalter 10">
            <a:extLst>
              <a:ext uri="{FF2B5EF4-FFF2-40B4-BE49-F238E27FC236}">
                <a16:creationId xmlns:a16="http://schemas.microsoft.com/office/drawing/2014/main" id="{F15A5305-0A31-1842-A616-82799D5FBC3A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723793" y="5891958"/>
            <a:ext cx="956947" cy="268321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62" name="Textplatzhalter 10">
            <a:extLst>
              <a:ext uri="{FF2B5EF4-FFF2-40B4-BE49-F238E27FC236}">
                <a16:creationId xmlns:a16="http://schemas.microsoft.com/office/drawing/2014/main" id="{55919F7D-6A9F-7543-9A9D-AC158207194A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2406013" y="5891958"/>
            <a:ext cx="956947" cy="268321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sp>
        <p:nvSpPr>
          <p:cNvPr id="63" name="Textplatzhalter 10">
            <a:extLst>
              <a:ext uri="{FF2B5EF4-FFF2-40B4-BE49-F238E27FC236}">
                <a16:creationId xmlns:a16="http://schemas.microsoft.com/office/drawing/2014/main" id="{00E876EE-2AE9-FE4A-AF05-3B44FE77C68B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4031613" y="5891958"/>
            <a:ext cx="956947" cy="268321"/>
          </a:xfrm>
          <a:noFill/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700">
                <a:solidFill>
                  <a:srgbClr val="000000"/>
                </a:solidFill>
              </a:defRPr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2"/>
            <a:r>
              <a:rPr lang="de-DE" dirty="0"/>
              <a:t>Mastertextforma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36" name="Datumsplatzhalter 3">
            <a:extLst>
              <a:ext uri="{FF2B5EF4-FFF2-40B4-BE49-F238E27FC236}">
                <a16:creationId xmlns:a16="http://schemas.microsoft.com/office/drawing/2014/main" id="{96191F9B-7A4D-0C4A-A692-C122A4FF60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CCCB2CF3-1E43-4167-8CED-17786D37C7FF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38" name="Fußzeilenplatzhalter 4">
            <a:extLst>
              <a:ext uri="{FF2B5EF4-FFF2-40B4-BE49-F238E27FC236}">
                <a16:creationId xmlns:a16="http://schemas.microsoft.com/office/drawing/2014/main" id="{26B423FD-6518-884D-A653-ACB3C9D2A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41" name="Foliennummernplatzhalter 5">
            <a:extLst>
              <a:ext uri="{FF2B5EF4-FFF2-40B4-BE49-F238E27FC236}">
                <a16:creationId xmlns:a16="http://schemas.microsoft.com/office/drawing/2014/main" id="{22B252C8-B5DE-C945-8938-3F0D7B8C63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5129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ell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E90388B4-4932-8343-B725-551A90EF1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84FA358-657B-2044-B57D-DF66E3F8D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44620" y="1836738"/>
            <a:ext cx="334145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30DCE407-4208-1F4B-A3ED-EDB1296CF5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7168" y="1836738"/>
            <a:ext cx="3273833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73C7CF5E-7582-F242-8C0D-7D5BC9A31F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301753" y="1836738"/>
            <a:ext cx="334145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7887794C-1BAA-2E45-A416-1AD76EA16E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rot="16200000">
            <a:off x="-92748" y="3169365"/>
            <a:ext cx="180670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C5581350-ADD9-2C4D-A0F5-80D448C811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44961" y="252329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BE2CED9C-8BBE-A049-A67A-D33B343E81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07850" y="2523299"/>
            <a:ext cx="3273833" cy="1806706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6" name="Textplatzhalter 10">
            <a:extLst>
              <a:ext uri="{FF2B5EF4-FFF2-40B4-BE49-F238E27FC236}">
                <a16:creationId xmlns:a16="http://schemas.microsoft.com/office/drawing/2014/main" id="{505F22FD-E2A0-1741-A5D6-4E3A8EBE814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302094" y="252329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1DFD0CA7-A18F-FD47-9C9C-9A444852B8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16200000">
            <a:off x="-92747" y="5161105"/>
            <a:ext cx="1806705" cy="514576"/>
          </a:xfrm>
          <a:prstGeom prst="roundRect">
            <a:avLst/>
          </a:prstGeom>
          <a:noFill/>
          <a:ln w="31750">
            <a:solidFill>
              <a:srgbClr val="00FF64"/>
            </a:solidFill>
          </a:ln>
        </p:spPr>
        <p:txBody>
          <a:bodyPr lIns="90000" tIns="36000" rIns="90000" bIns="36000" anchor="ctr" anchorCtr="0"/>
          <a:lstStyle>
            <a:lvl1pPr algn="ctr">
              <a:lnSpc>
                <a:spcPct val="100000"/>
              </a:lnSpc>
              <a:buFontTx/>
              <a:buNone/>
              <a:defRPr sz="1100" b="1">
                <a:solidFill>
                  <a:srgbClr val="000000"/>
                </a:solidFill>
              </a:defRPr>
            </a:lvl1pPr>
            <a:lvl2pPr marL="0" indent="0">
              <a:buFontTx/>
              <a:buNone/>
              <a:defRPr sz="1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 b="1">
                <a:solidFill>
                  <a:schemeClr val="bg1"/>
                </a:solidFill>
              </a:defRPr>
            </a:lvl4pPr>
            <a:lvl5pPr>
              <a:buFontTx/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 bearbeiten</a:t>
            </a:r>
          </a:p>
        </p:txBody>
      </p: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7EBD1491-9F44-3449-B4F4-413F9CB2CB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44620" y="451503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34" name="Textplatzhalter 10">
            <a:extLst>
              <a:ext uri="{FF2B5EF4-FFF2-40B4-BE49-F238E27FC236}">
                <a16:creationId xmlns:a16="http://schemas.microsoft.com/office/drawing/2014/main" id="{1ED36742-CF66-A74C-B67B-7B57703E21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807168" y="4515039"/>
            <a:ext cx="3273833" cy="1806706"/>
          </a:xfrm>
          <a:solidFill>
            <a:schemeClr val="bg1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 b="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A58135B3-E718-224E-81BF-1233E8B7078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301753" y="4515039"/>
            <a:ext cx="3341455" cy="1806706"/>
          </a:xfrm>
          <a:solidFill>
            <a:srgbClr val="F4F6F9"/>
          </a:solidFill>
        </p:spPr>
        <p:txBody>
          <a:bodyPr lIns="90000" tIns="90000" rIns="90000" bIns="90000"/>
          <a:lstStyle>
            <a:lvl1pPr>
              <a:lnSpc>
                <a:spcPct val="100000"/>
              </a:lnSpc>
              <a:defRPr sz="1100" b="1"/>
            </a:lvl1pPr>
            <a:lvl2pPr marL="90000" indent="-90000">
              <a:lnSpc>
                <a:spcPct val="100000"/>
              </a:lnSpc>
              <a:buFont typeface="Arial" panose="020B0604020202020204" pitchFamily="34" charset="0"/>
              <a:buChar char="•"/>
              <a:defRPr sz="1100"/>
            </a:lvl2pPr>
            <a:lvl3pPr marL="0" indent="0">
              <a:lnSpc>
                <a:spcPct val="100000"/>
              </a:lnSpc>
              <a:buFontTx/>
              <a:buNone/>
              <a:defRPr sz="1100"/>
            </a:lvl3pPr>
            <a:lvl4pPr>
              <a:lnSpc>
                <a:spcPts val="2400"/>
              </a:lnSpc>
              <a:defRPr sz="1600"/>
            </a:lvl4pPr>
            <a:lvl5pPr>
              <a:lnSpc>
                <a:spcPts val="2400"/>
              </a:lnSpc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7E4BA81-2B69-5A40-826F-1495E3B97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06BC484A-CA94-4549-8D37-7D0A775299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71452BAA-1DAD-4FD5-A84A-F5371D104C24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8224BCE3-8089-DB43-91B8-A56D4BD4B1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F72AD22-B538-AB4E-98A6-D4E192E849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6555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1">
    <p:bg>
      <p:bgPr>
        <a:solidFill>
          <a:srgbClr val="000E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032442"/>
            <a:ext cx="11089408" cy="47200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»Zitate und Statements werden möglichst kurz gehalten. Die </a:t>
            </a:r>
            <a:br>
              <a:rPr lang="de-DE" dirty="0"/>
            </a:br>
            <a:r>
              <a:rPr lang="de-DE" dirty="0"/>
              <a:t>Aussage wird schnell erfasst.«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E9D6DC9-7178-0A49-93A1-35A7EB98B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EE4D7A-DB68-634F-B7E9-A7B41B2EF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41403" y="6478314"/>
            <a:ext cx="802800" cy="2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7923F7-BB33-6844-9772-DD67B519AD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FC306B1-8D0C-41AB-B7FB-9D2F9ECE2AA8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6D31AE-F1CB-AB44-A337-FFCD7028AA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2036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032442"/>
            <a:ext cx="11089408" cy="47200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sz="3600" b="1" i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»Sollte es doch mal ein etwas längerer Text sein, empfiehlt es sich den Text auf weißem Untergrund zu setzen, da das Lesen so vereinfacht wird und es mehr Spaß macht.«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A3314F0-FB61-344D-86B6-861BFD6F01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60FA5E00-093B-F04F-BFD2-F3EF642EDF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31F23A1E-8C83-489D-9467-7EDC00FEBAEA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2604AD3F-78CF-594C-B0CD-E0827CE16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FD4FF002-27FB-1F4C-895A-78546662A3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0994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DFA2DB2-C0CE-A940-93C0-9D2E088738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9"/>
            <a:ext cx="5453036" cy="29145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100000"/>
              </a:lnSpc>
              <a:defRPr sz="2800" b="1" i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»Hier steht das Zitat mit zugehörigem Foto der/des Protagonistin/en«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FE9DAC1-98F9-A640-BD9D-5BF698B816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38" y="5110163"/>
            <a:ext cx="5453062" cy="10033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Name der zitierten Person</a:t>
            </a:r>
          </a:p>
        </p:txBody>
      </p:sp>
    </p:spTree>
    <p:extLst>
      <p:ext uri="{BB962C8B-B14F-4D97-AF65-F5344CB8AC3E}">
        <p14:creationId xmlns:p14="http://schemas.microsoft.com/office/powerpoint/2010/main" val="3693677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511175"/>
            <a:ext cx="651250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C83209-0ED6-A548-B1EF-96526774DA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039" y="1836738"/>
            <a:ext cx="4296257" cy="4132262"/>
          </a:xfrm>
        </p:spPr>
        <p:txBody>
          <a:bodyPr/>
          <a:lstStyle/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14" name="Bildplatzhalter 19">
            <a:extLst>
              <a:ext uri="{FF2B5EF4-FFF2-40B4-BE49-F238E27FC236}">
                <a16:creationId xmlns:a16="http://schemas.microsoft.com/office/drawing/2014/main" id="{7B6A2C87-B401-F044-8CE0-B9A301EF94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40650" y="1985533"/>
            <a:ext cx="7151350" cy="3952346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F6B60F0-36B4-E849-963C-95CC74AAE7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C63CD9C9-7EF1-1047-8447-36FE2521E5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2F3F624E-5164-4FC7-BAD1-AC5064DF5C18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5D4537AA-6CDC-114C-B0D7-5418019968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DC811961-59C1-6145-B474-3CCE74DC4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6413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9"/>
            <a:ext cx="5453036" cy="29145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100000"/>
              </a:lnSpc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»Hier steht das Zitat mit zugehörigem Foto der/des Protagonistin/en«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1027750-BC7E-A147-933C-92B82B2309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38" y="5110163"/>
            <a:ext cx="5453062" cy="10033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Name der zitierten Perso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DFA2DB2-C0CE-A940-93C0-9D2E08873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276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bg>
      <p:bgPr>
        <a:solidFill>
          <a:srgbClr val="000E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317" y="1836739"/>
            <a:ext cx="9791954" cy="1935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»Statements werden möglichst kurz gehalten.«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0486FF8E-EC30-D446-8C0D-F29D53F12D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038" y="4353339"/>
            <a:ext cx="5453062" cy="377687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ontaktdaten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FC4BB72-58BB-5646-81AC-C187855251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038" y="4969565"/>
            <a:ext cx="5453062" cy="1053548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Max Mustermann</a:t>
            </a:r>
          </a:p>
          <a:p>
            <a:r>
              <a:rPr lang="de-DE" dirty="0">
                <a:solidFill>
                  <a:schemeClr val="bg1"/>
                </a:solidFill>
              </a:rPr>
              <a:t>01234 – 567890</a:t>
            </a:r>
          </a:p>
          <a:p>
            <a:r>
              <a:rPr lang="de-DE" dirty="0" err="1">
                <a:solidFill>
                  <a:schemeClr val="bg1"/>
                </a:solidFill>
              </a:rPr>
              <a:t>max.mustermann@gematik.de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E9D6DC9-7178-0A49-93A1-35A7EB98B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4EE4D7A-DB68-634F-B7E9-A7B41B2EF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41403" y="6478314"/>
            <a:ext cx="802800" cy="212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07923F7-BB33-6844-9772-DD67B519AD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6697F2-57F7-4318-A3F5-D50E9BA78D05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46D31AE-F1CB-AB44-A337-FFCD7028AA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0465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 ÜS + Conta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4D0CE9-C436-0241-B8E9-8EB07BEE5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lIns="0"/>
          <a:lstStyle>
            <a:lvl1pPr>
              <a:defRPr b="0" i="0" baseline="0"/>
            </a:lvl1pPr>
          </a:lstStyle>
          <a:p>
            <a:r>
              <a:rPr lang="de-DE"/>
              <a:t>Überschrif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A29C6D-1286-7C48-92E7-7781C5C9C3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82DEE59-D2A4-A343-8D2D-E712EED7D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985EC4-8C9E-9043-9777-D354914D03C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179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ECF4F646-CD38-0042-B54D-7291A9BE48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34238" y="0"/>
            <a:ext cx="4957762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6512502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397DA70-B73A-5448-893D-5E2B6B26FC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8725" y="2235200"/>
            <a:ext cx="4306888" cy="33655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3317" y="2235199"/>
            <a:ext cx="1755930" cy="1536701"/>
          </a:xfrm>
        </p:spPr>
        <p:txBody>
          <a:bodyPr/>
          <a:lstStyle/>
          <a:p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1552B69C-99C9-8244-A1DC-23FA75AFF1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CC1D7B09-975B-F541-A242-F9EED28ACF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B956D046-4590-4949-86E3-DB2CC6E02D3D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A100EDDD-4216-084A-9407-385F35F94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DC70E45C-1C6D-9F45-BF9C-32DA12841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251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089408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397DA70-B73A-5448-893D-5E2B6B26FC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317" y="3771900"/>
            <a:ext cx="3104283" cy="230716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3317" y="1855787"/>
            <a:ext cx="1755930" cy="153670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16">
            <a:extLst>
              <a:ext uri="{FF2B5EF4-FFF2-40B4-BE49-F238E27FC236}">
                <a16:creationId xmlns:a16="http://schemas.microsoft.com/office/drawing/2014/main" id="{5149584F-8B3C-5B44-8E7D-8C65FD47A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5879" y="3771900"/>
            <a:ext cx="3104283" cy="230716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7" name="Bildplatzhalter 19">
            <a:extLst>
              <a:ext uri="{FF2B5EF4-FFF2-40B4-BE49-F238E27FC236}">
                <a16:creationId xmlns:a16="http://schemas.microsoft.com/office/drawing/2014/main" id="{95E93FCA-B4AD-704B-81B2-771BB79189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45879" y="1855787"/>
            <a:ext cx="1755930" cy="153670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5BD91B5B-42B1-844B-B79F-FF11A27131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38442" y="3771900"/>
            <a:ext cx="3104283" cy="2307167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defRPr sz="1600" b="0"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9" name="Bildplatzhalter 19">
            <a:extLst>
              <a:ext uri="{FF2B5EF4-FFF2-40B4-BE49-F238E27FC236}">
                <a16:creationId xmlns:a16="http://schemas.microsoft.com/office/drawing/2014/main" id="{85D048D1-7A7C-4A47-AAA1-E23B08B1D6A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38442" y="1855787"/>
            <a:ext cx="1755930" cy="1536701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C8DA3FC-7655-F14F-8B5B-2367FA050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44BEDFDB-D58A-054F-9F91-BF55FAABC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F703ABC-0462-439B-8A12-77C3637F7948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11BD680A-63CD-CA46-9700-52A38D0D76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0A54B457-AFE3-2744-888C-F02586754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8806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089408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88C245DB-5769-A545-BCC0-3D013DE555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62459" y="2083721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1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4500" y="2082500"/>
            <a:ext cx="844516" cy="7390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359F1DD4-78D5-9A47-B614-53E5D791E5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97788" y="2083721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3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19" name="Bildplatzhalter 19">
            <a:extLst>
              <a:ext uri="{FF2B5EF4-FFF2-40B4-BE49-F238E27FC236}">
                <a16:creationId xmlns:a16="http://schemas.microsoft.com/office/drawing/2014/main" id="{19398F07-1815-6A47-B33A-B4FA038495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42783" y="2082500"/>
            <a:ext cx="844516" cy="7390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DB4963DB-3BE6-C64A-A874-57A63F34AF8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62459" y="4340225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2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16" name="Bildplatzhalter 19">
            <a:extLst>
              <a:ext uri="{FF2B5EF4-FFF2-40B4-BE49-F238E27FC236}">
                <a16:creationId xmlns:a16="http://schemas.microsoft.com/office/drawing/2014/main" id="{6E4E58DD-CA32-B346-A150-BBF7BFC816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4500" y="4339564"/>
            <a:ext cx="844516" cy="7390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1C618CF-4E3C-724E-ACB0-77759819AD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97788" y="4340225"/>
            <a:ext cx="3941762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4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17568E1B-0CE2-1543-80B9-B175261F64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42783" y="4339564"/>
            <a:ext cx="844516" cy="739078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C8DA3FC-7655-F14F-8B5B-2367FA050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3F53E80D-CC19-3E43-908C-FADBD7B7A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0100B23E-E76C-48E9-A302-28F43C089F89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4A539BAB-F115-B945-AEEF-A1AFBD87C8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D50BA05F-DCCD-5E49-9477-C2E30A5AD7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838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7" y="511175"/>
            <a:ext cx="11089408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FBAF0524-39E4-0943-93D1-659DAC0963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7673" y="1832400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1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2C10DB66-8079-F34C-9EBA-3C939A84CB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7673" y="4233599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2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4DA13FA5-51D3-8D47-957F-D817286112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9570" y="1832400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3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048CA97-7C8C-BA40-88A9-5741A28329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59570" y="4233599"/>
            <a:ext cx="3283154" cy="1676400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r>
              <a:rPr lang="de-DE" b="1" dirty="0"/>
              <a:t>04 </a:t>
            </a:r>
            <a:r>
              <a:rPr lang="de-DE" b="1" dirty="0" err="1"/>
              <a:t>Lorem</a:t>
            </a:r>
            <a:r>
              <a:rPr lang="de-DE" b="1" dirty="0"/>
              <a:t> </a:t>
            </a:r>
            <a:r>
              <a:rPr lang="de-DE" b="1" dirty="0" err="1"/>
              <a:t>ipsum</a:t>
            </a:r>
            <a:endParaRPr lang="de-DE" b="1" dirty="0"/>
          </a:p>
          <a:p>
            <a:endParaRPr lang="de-DE" b="1" dirty="0"/>
          </a:p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</p:txBody>
      </p:sp>
      <p:sp>
        <p:nvSpPr>
          <p:cNvPr id="22" name="Bildplatzhalter 19">
            <a:extLst>
              <a:ext uri="{FF2B5EF4-FFF2-40B4-BE49-F238E27FC236}">
                <a16:creationId xmlns:a16="http://schemas.microsoft.com/office/drawing/2014/main" id="{5FE5C7C1-C2D0-BB43-B84B-D28E53BDC96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24809" y="2782425"/>
            <a:ext cx="2779470" cy="2432453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4C8DA3FC-7655-F14F-8B5B-2367FA050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BBE9D9B1-A235-3349-B373-3551A36F74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F2EA869A-36B1-454D-8998-D0EF9405AD82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D6792891-517A-E942-8462-7D25C7B5D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A9FD7ACA-6452-B842-9E0E-FE0F88DB2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399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1">
    <p:bg>
      <p:bgPr>
        <a:solidFill>
          <a:srgbClr val="ECF0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8D2201AC-0EBE-A246-A900-E0E422B4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6" y="511175"/>
            <a:ext cx="11171837" cy="9348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1" name="Bildplatzhalter 19">
            <a:extLst>
              <a:ext uri="{FF2B5EF4-FFF2-40B4-BE49-F238E27FC236}">
                <a16:creationId xmlns:a16="http://schemas.microsoft.com/office/drawing/2014/main" id="{93785646-389D-3A45-92B7-ED0EA9FD27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3317" y="1855787"/>
            <a:ext cx="7151350" cy="3952346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EDA4CB2-379E-AD43-A464-109E381306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94C53366-B2B1-4946-917B-2A74282C57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0418F951-9A56-404A-A4F3-A955C0245712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E57A0BC-73AE-1343-A949-4DF32A2D81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96B763EA-71C6-E24A-955D-009B64E5AA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51219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2.w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109876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6" imgW="592" imgH="595" progId="TCLayout.ActiveDocument.1">
                  <p:embed/>
                </p:oleObj>
              </mc:Choice>
              <mc:Fallback>
                <p:oleObj name="think-cell Folie" r:id="rId4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6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53316" y="511175"/>
            <a:ext cx="11089409" cy="817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2925" y="1838092"/>
            <a:ext cx="11093863" cy="37338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D5BA63D8-61A4-4B19-8C12-6FBA491B7561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ISiK und Krankenhaus Stakeholder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B5D6941-0570-3B44-AD05-A8E468CFF6E3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25" y="6477384"/>
            <a:ext cx="801762" cy="213330"/>
          </a:xfrm>
          <a:prstGeom prst="rect">
            <a:avLst/>
          </a:prstGeom>
        </p:spPr>
      </p:pic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50A3B497-14BB-7747-835E-A01CA0D66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lnSpc>
                <a:spcPct val="100000"/>
              </a:lnSpc>
              <a:defRPr sz="900">
                <a:solidFill>
                  <a:srgbClr val="000000"/>
                </a:solidFill>
              </a:defRPr>
            </a:lvl1pPr>
          </a:lstStyle>
          <a:p>
            <a:fld id="{4E94CFA2-DDEE-4F46-AAD3-48DE685EA11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1923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8" r:id="rId2"/>
    <p:sldLayoutId id="2147483690" r:id="rId3"/>
    <p:sldLayoutId id="2147483718" r:id="rId4"/>
    <p:sldLayoutId id="2147483691" r:id="rId5"/>
    <p:sldLayoutId id="2147483692" r:id="rId6"/>
    <p:sldLayoutId id="2147483702" r:id="rId7"/>
    <p:sldLayoutId id="2147483703" r:id="rId8"/>
    <p:sldLayoutId id="2147483693" r:id="rId9"/>
    <p:sldLayoutId id="2147483694" r:id="rId10"/>
    <p:sldLayoutId id="2147483696" r:id="rId11"/>
    <p:sldLayoutId id="2147483695" r:id="rId12"/>
    <p:sldLayoutId id="2147483697" r:id="rId13"/>
    <p:sldLayoutId id="2147483698" r:id="rId14"/>
    <p:sldLayoutId id="2147483705" r:id="rId15"/>
    <p:sldLayoutId id="2147483699" r:id="rId16"/>
    <p:sldLayoutId id="2147483704" r:id="rId17"/>
    <p:sldLayoutId id="2147483700" r:id="rId18"/>
    <p:sldLayoutId id="2147483707" r:id="rId19"/>
    <p:sldLayoutId id="2147483701" r:id="rId20"/>
    <p:sldLayoutId id="2147483719" r:id="rId21"/>
    <p:sldLayoutId id="2147483720" r:id="rId22"/>
    <p:sldLayoutId id="2147483721" r:id="rId23"/>
    <p:sldLayoutId id="2147483728" r:id="rId24"/>
    <p:sldLayoutId id="2147483706" r:id="rId25"/>
    <p:sldLayoutId id="2147483662" r:id="rId26"/>
    <p:sldLayoutId id="2147483711" r:id="rId27"/>
    <p:sldLayoutId id="2147483712" r:id="rId28"/>
    <p:sldLayoutId id="2147483708" r:id="rId29"/>
    <p:sldLayoutId id="2147483710" r:id="rId30"/>
    <p:sldLayoutId id="2147483709" r:id="rId31"/>
    <p:sldLayoutId id="2147483722" r:id="rId32"/>
    <p:sldLayoutId id="2147483723" r:id="rId33"/>
    <p:sldLayoutId id="2147483724" r:id="rId34"/>
    <p:sldLayoutId id="2147483725" r:id="rId35"/>
    <p:sldLayoutId id="2147483726" r:id="rId36"/>
    <p:sldLayoutId id="2147483713" r:id="rId37"/>
    <p:sldLayoutId id="2147483714" r:id="rId38"/>
    <p:sldLayoutId id="2147483716" r:id="rId39"/>
    <p:sldLayoutId id="2147483717" r:id="rId40"/>
    <p:sldLayoutId id="2147483715" r:id="rId41"/>
    <p:sldLayoutId id="2147483729" r:id="rId4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1pPr>
      <a:lvl2pPr marL="266400" indent="-26640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532800" indent="-26640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799200" indent="-26640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800" b="1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3120" indent="-21312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26240" indent="-21312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39360" indent="-213120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ts val="2400"/>
        </a:lnSpc>
        <a:spcBef>
          <a:spcPts val="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34" userDrawn="1">
          <p15:clr>
            <a:srgbClr val="F26B43"/>
          </p15:clr>
        </p15:guide>
        <p15:guide id="2" pos="342" userDrawn="1">
          <p15:clr>
            <a:srgbClr val="F26B43"/>
          </p15:clr>
        </p15:guide>
        <p15:guide id="3" orient="horz" pos="322" userDrawn="1">
          <p15:clr>
            <a:srgbClr val="F26B43"/>
          </p15:clr>
        </p15:guide>
        <p15:guide id="4" orient="horz" pos="1157" userDrawn="1">
          <p15:clr>
            <a:srgbClr val="F26B43"/>
          </p15:clr>
        </p15:guide>
        <p15:guide id="5" orient="horz" pos="3979" userDrawn="1">
          <p15:clr>
            <a:srgbClr val="F26B43"/>
          </p15:clr>
        </p15:guide>
        <p15:guide id="6" orient="horz" pos="2137" userDrawn="1">
          <p15:clr>
            <a:srgbClr val="F26B43"/>
          </p15:clr>
        </p15:guide>
        <p15:guide id="7" orient="horz" pos="23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fhir.echinos.eu/fhir" TargetMode="Externa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DD213F2-281A-A847-9801-64481B08A0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(Not so) Easy Informationstechnische Systeme im Krankenhaus (</a:t>
            </a:r>
            <a:r>
              <a:rPr lang="de-DE" dirty="0" err="1"/>
              <a:t>ISiK</a:t>
            </a:r>
            <a:r>
              <a:rPr lang="de-DE" dirty="0"/>
              <a:t>) – </a:t>
            </a:r>
            <a:br>
              <a:rPr lang="de-DE" dirty="0"/>
            </a:br>
            <a:r>
              <a:rPr lang="de-DE" dirty="0"/>
              <a:t>Track Fortgeschrittene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1C4BE2DA-A913-3B4F-AEB3-12BAE776F3D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rodukt-Team Data der </a:t>
            </a:r>
            <a:r>
              <a:rPr lang="de-DE" dirty="0" err="1"/>
              <a:t>gematik</a:t>
            </a:r>
            <a:endParaRPr lang="de-DE" dirty="0"/>
          </a:p>
          <a:p>
            <a:r>
              <a:rPr lang="de-DE" dirty="0"/>
              <a:t>Solution </a:t>
            </a:r>
            <a:r>
              <a:rPr lang="de-DE" dirty="0" err="1"/>
              <a:t>Architect</a:t>
            </a:r>
            <a:r>
              <a:rPr lang="de-DE" dirty="0"/>
              <a:t>: François Peverali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1718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054580-D7BE-7C41-8721-D228C9A5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gematik</a:t>
            </a:r>
            <a:r>
              <a:rPr lang="de-DE" dirty="0"/>
              <a:t>.</a:t>
            </a:r>
            <a:br>
              <a:rPr lang="de-DE" b="0" dirty="0"/>
            </a:br>
            <a:r>
              <a:rPr lang="de-DE" dirty="0"/>
              <a:t>Gesunde Aussichten.</a:t>
            </a:r>
            <a:endParaRPr lang="de-DE" b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EDE2D6-A878-A943-B86E-D5974A4EFA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EB4E4-0B42-4F2E-884C-342A8F77D481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6AFD21-19BB-5644-85A6-38962CB47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314ECE-AA79-8741-A87F-4238A32DD0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eam Data – </a:t>
            </a:r>
            <a:r>
              <a:rPr lang="de-DE" dirty="0" err="1"/>
              <a:t>ISiK</a:t>
            </a:r>
            <a:endParaRPr lang="de-DE" dirty="0"/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86DDB65-BCC3-8745-8EC6-47D4E048C4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4038" y="4969565"/>
            <a:ext cx="7185524" cy="1053548"/>
          </a:xfrm>
        </p:spPr>
        <p:txBody>
          <a:bodyPr/>
          <a:lstStyle/>
          <a:p>
            <a:r>
              <a:rPr lang="de-DE" dirty="0"/>
              <a:t>Weitere Anfragen bitte an :</a:t>
            </a:r>
          </a:p>
          <a:p>
            <a:r>
              <a:rPr lang="de-DE" dirty="0"/>
              <a:t>https://service.gematik.de/servicedesk/customer/portal/16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8953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D9937A06-A2C7-BF45-9C4C-5916286D3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880C96-7E2E-5D4F-A223-E89C03A3B6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fld id="{CFE4FC9E-5DAC-42D0-A944-738ADB42186D}" type="datetime1">
              <a:rPr lang="de-DE" smtClean="0">
                <a:solidFill>
                  <a:srgbClr val="000000"/>
                </a:solidFill>
              </a:rPr>
              <a:t>03.12.20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87492FA-72CD-E24E-8A3F-0AD762832B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SiK und Krankenhaus Stakehold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3D6FDF9-EC47-4B4C-97FA-B9CF8B2EC1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Szenarien: Dokumentenaustausch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Connect - 9.30 Uhr </a:t>
            </a:r>
          </a:p>
          <a:p>
            <a:pPr marL="552150" lvl="1" indent="-285750"/>
            <a:r>
              <a:rPr lang="de-DE" dirty="0"/>
              <a:t>Integration mit </a:t>
            </a:r>
            <a:r>
              <a:rPr lang="de-DE" dirty="0" err="1"/>
              <a:t>d.velop</a:t>
            </a:r>
            <a:r>
              <a:rPr lang="de-DE" dirty="0"/>
              <a:t> als Dokumenten-Server (ggf. auch Dokumenten-Client)</a:t>
            </a:r>
          </a:p>
          <a:p>
            <a:pPr marL="552150" lvl="1" indent="-285750"/>
            <a:r>
              <a:rPr lang="de-DE" dirty="0" err="1"/>
              <a:t>ISiK</a:t>
            </a:r>
            <a:r>
              <a:rPr lang="de-DE" dirty="0"/>
              <a:t> „Mock-Server“ – u.a. dafür Postman-Collection als „Skelett“ vorbereit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reak – 11 bis - 11.30 Uh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eitermach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azit – 12.45 Uh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ttagsimbiss ab 13 Uhr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DC150FC9-CE65-5A4C-B8A3-6A3F93611EF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9" t="889" r="15005" b="889"/>
          <a:stretch/>
        </p:blipFill>
        <p:spPr>
          <a:xfrm>
            <a:off x="7096125" y="2289101"/>
            <a:ext cx="4546600" cy="3648777"/>
          </a:xfrm>
        </p:spPr>
      </p:pic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79442B4-88F4-694D-84AD-BAFC346A26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4709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0E67AA8-6196-674C-95C6-B9149C014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en – Dokumenten-Austausch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0797D6-BE35-8C4D-92C7-57D6A68CEE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marL="0" lvl="1" indent="0">
              <a:buNone/>
            </a:pPr>
            <a:r>
              <a:rPr lang="de-DE" dirty="0"/>
              <a:t>Entsprechend </a:t>
            </a:r>
            <a:r>
              <a:rPr lang="de-DE" dirty="0" err="1"/>
              <a:t>ISiK</a:t>
            </a:r>
            <a:r>
              <a:rPr lang="de-DE" dirty="0"/>
              <a:t> Dokumentenaustausch Stufe 4 – Abschnitt Akteure und Interaktionen (https://simplifier.net/guide/isik-dokumentenaustausch-v4?version=current ):</a:t>
            </a:r>
          </a:p>
          <a:p>
            <a:pPr lvl="1"/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Dokumentenbereitstellung (bestätigungsrelevant)</a:t>
            </a:r>
          </a:p>
          <a:p>
            <a:pPr lvl="2"/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Inklusive </a:t>
            </a:r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Herstellung von Patient- und </a:t>
            </a:r>
            <a:r>
              <a:rPr lang="de-DE" b="0" i="0" dirty="0" err="1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Encounterkontext</a:t>
            </a:r>
            <a:endParaRPr lang="de-DE" dirty="0"/>
          </a:p>
          <a:p>
            <a:pPr lvl="1"/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Dokumentenabfrage und -Zugriff (bestätigungsrelevant)</a:t>
            </a:r>
          </a:p>
          <a:p>
            <a:pPr marL="0" lvl="1" indent="0">
              <a:buNone/>
            </a:pPr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-&gt; </a:t>
            </a:r>
            <a:r>
              <a:rPr lang="de-DE">
                <a:solidFill>
                  <a:srgbClr val="333333"/>
                </a:solidFill>
                <a:latin typeface="Open Sans" panose="020B0606030504020204" pitchFamily="34" charset="0"/>
              </a:rPr>
              <a:t>Hierfür Postman </a:t>
            </a:r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Collection</a:t>
            </a:r>
          </a:p>
          <a:p>
            <a:pPr marL="0" lvl="1" indent="0">
              <a:buNone/>
            </a:pPr>
            <a:endParaRPr lang="de-DE" b="0" i="0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  <a:p>
            <a:pPr marL="0" lvl="1" indent="0">
              <a:buNone/>
            </a:pPr>
            <a:r>
              <a:rPr lang="de-DE" dirty="0">
                <a:solidFill>
                  <a:srgbClr val="333333"/>
                </a:solidFill>
                <a:latin typeface="Open Sans" panose="020B0606030504020204" pitchFamily="34" charset="0"/>
              </a:rPr>
              <a:t>Kür:</a:t>
            </a:r>
            <a:endParaRPr lang="de-DE" b="0" i="0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  <a:p>
            <a:pPr lvl="1"/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Update von Dokumentenmetadaten (optional)</a:t>
            </a:r>
          </a:p>
          <a:p>
            <a:pPr lvl="1"/>
            <a:r>
              <a:rPr lang="de-DE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Erzeugen von Dokumentenmetadaten (optional)</a:t>
            </a:r>
          </a:p>
          <a:p>
            <a:pPr lvl="1"/>
            <a:endParaRPr lang="de-DE" b="0" i="0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05092B2E-D8AE-6F44-8E52-39F45033BC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fld id="{0E224B17-6BAA-419A-A10E-EF501F5A3EF3}" type="datetime1">
              <a:rPr lang="de-DE" smtClean="0">
                <a:solidFill>
                  <a:srgbClr val="000000"/>
                </a:solidFill>
              </a:rPr>
              <a:t>03.12.20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F76E55A-A217-F248-A8C7-A2DDDCC905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SiK und Krankenhaus Stakehold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A0DBC0E-F35A-6745-8101-7C2AA95AB7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1642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A16F70-E287-4976-65D2-7F1C9251A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214E233-0F06-D1BF-1D3D-ED22AFBDD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nect – Dokumenten-Serv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6226DA4-BA2F-770F-AA35-F42EB2F88B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marL="0" lvl="1" indent="0">
              <a:buNone/>
            </a:pPr>
            <a:r>
              <a:rPr lang="de-DE" dirty="0"/>
              <a:t>Welche Informationen benötigen Teilnehmer für die Teilnahme?</a:t>
            </a:r>
          </a:p>
          <a:p>
            <a:pPr lvl="1"/>
            <a:r>
              <a:rPr lang="de-DE" dirty="0"/>
              <a:t>Wer ist Ansprechpartner bei </a:t>
            </a:r>
            <a:r>
              <a:rPr lang="de-DE" dirty="0" err="1"/>
              <a:t>d.velop</a:t>
            </a:r>
            <a:r>
              <a:rPr lang="de-DE" dirty="0"/>
              <a:t>?</a:t>
            </a:r>
          </a:p>
          <a:p>
            <a:pPr lvl="1"/>
            <a:r>
              <a:rPr lang="de-DE" dirty="0"/>
              <a:t>Endpunkt: </a:t>
            </a:r>
            <a:r>
              <a:rPr lang="de-DE" dirty="0">
                <a:solidFill>
                  <a:schemeClr val="accent2"/>
                </a:solidFill>
              </a:rPr>
              <a:t>???</a:t>
            </a:r>
          </a:p>
          <a:p>
            <a:pPr lvl="1"/>
            <a:r>
              <a:rPr lang="de-DE" dirty="0">
                <a:solidFill>
                  <a:schemeClr val="accent2"/>
                </a:solidFill>
              </a:rPr>
              <a:t>Weitere Infos?</a:t>
            </a:r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D85AFD09-3784-33F7-88BF-CC0D213472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fld id="{0E224B17-6BAA-419A-A10E-EF501F5A3EF3}" type="datetime1">
              <a:rPr lang="de-DE" smtClean="0">
                <a:solidFill>
                  <a:srgbClr val="000000"/>
                </a:solidFill>
              </a:rPr>
              <a:t>03.12.20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FBF3DDA9-F4C9-A823-26AD-B296A5D082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SiK und Krankenhaus Stakehold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5A973A7-2B37-2410-9EF4-B8EA8F7A8D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67210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33D2A-8BD9-1D16-7213-CA186513F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71BF2EF-92FE-C51E-763C-EE6DC1276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nect – </a:t>
            </a:r>
            <a:r>
              <a:rPr lang="de-DE" dirty="0" err="1"/>
              <a:t>ISiK</a:t>
            </a:r>
            <a:r>
              <a:rPr lang="de-DE" dirty="0"/>
              <a:t> „Mock-Server“ für Dokumentenaustausch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D9CD41-428D-3A6C-51C1-5421DFE5BA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marL="0" lvl="1" indent="0">
              <a:buNone/>
            </a:pPr>
            <a:r>
              <a:rPr lang="de-DE" dirty="0"/>
              <a:t>Welche Informationen benötigen Teilnehmer für die Teilnahme?</a:t>
            </a:r>
          </a:p>
          <a:p>
            <a:pPr lvl="1"/>
            <a:r>
              <a:rPr lang="de-DE" dirty="0"/>
              <a:t>Ansprechpartner: Patrick Werner</a:t>
            </a:r>
          </a:p>
          <a:p>
            <a:pPr lvl="1"/>
            <a:r>
              <a:rPr lang="de-DE" dirty="0"/>
              <a:t>Endpunkt: </a:t>
            </a:r>
            <a:r>
              <a:rPr lang="de-DE" dirty="0">
                <a:hlinkClick r:id="rId2"/>
              </a:rPr>
              <a:t>https://fhir.echinos.eu/fhir</a:t>
            </a:r>
            <a:endParaRPr lang="de-DE" dirty="0"/>
          </a:p>
          <a:p>
            <a:pPr lvl="1"/>
            <a:r>
              <a:rPr lang="de-DE" dirty="0">
                <a:solidFill>
                  <a:schemeClr val="accent2"/>
                </a:solidFill>
              </a:rPr>
              <a:t>Weitere Infos?</a:t>
            </a:r>
          </a:p>
          <a:p>
            <a:pPr marL="0"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E72113D0-D97D-01CF-0ECE-1FAAAD4DD2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fld id="{0E224B17-6BAA-419A-A10E-EF501F5A3EF3}" type="datetime1">
              <a:rPr lang="de-DE" smtClean="0">
                <a:solidFill>
                  <a:srgbClr val="000000"/>
                </a:solidFill>
              </a:rPr>
              <a:t>03.12.20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A7D00B6-C22B-7492-C706-446D12A2E7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SiK und Krankenhaus Stakehold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6CDF35E-CAEF-F256-E4D4-5D9692D3AE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1612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E48596-9B5F-D1A7-57E4-9D5B3DA3DF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5EAC570-AF31-E318-3126-0B34CCA65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nect – Wie komme ich an den Content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05FE28-F757-D2B8-5A19-BBC8284033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050A28C6-4003-6978-C9A8-0D2C23F7CC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fld id="{0E224B17-6BAA-419A-A10E-EF501F5A3EF3}" type="datetime1">
              <a:rPr lang="de-DE" smtClean="0">
                <a:solidFill>
                  <a:srgbClr val="000000"/>
                </a:solidFill>
              </a:rPr>
              <a:t>03.12.20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F435FA78-8939-DCE7-98BB-DB5736950C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SiK und Krankenhaus Stakehold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20E4866-9054-5116-2A7A-C3BD45B5E9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2CF9950-26F7-C45F-7651-7437DBC659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924" y="1207589"/>
            <a:ext cx="10291908" cy="465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7513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4B19DF-3D5E-824B-42C2-DEC24B0F6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nect – Wie komme ich an den Content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3DD1D4-2F3A-7326-BCA4-3FCA65393C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err="1"/>
              <a:t>Powerpoint</a:t>
            </a:r>
            <a:endParaRPr lang="de-DE" dirty="0"/>
          </a:p>
          <a:p>
            <a:r>
              <a:rPr lang="de-DE" dirty="0"/>
              <a:t>Aufgaben</a:t>
            </a:r>
          </a:p>
          <a:p>
            <a:r>
              <a:rPr lang="de-DE" dirty="0"/>
              <a:t>Postman-Collec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92A8FC-280C-5EB1-BB21-A20DAB295F0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4A273FD-4E80-46A5-957C-33F202EBCB12}" type="datetime1">
              <a:rPr lang="de-DE" smtClean="0"/>
              <a:t>03.12.20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D58104-E56C-BF4D-48DB-F532992B85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ISiK und Krankenhaus Stakehold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58A4C3-CAA1-9D86-BE28-1DA727070B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E94CFA2-DDEE-4F46-AAD3-48DE685EA116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88391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401B72-5419-3196-00C9-915AC941F7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E111779-F787-A345-7D81-95CE56CC6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nect – Wie komme ich an den Content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099480-3A8E-107A-FF77-E34E5EC111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2579B740-B24D-4026-1CCE-9E4222B674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fld id="{0E224B17-6BAA-419A-A10E-EF501F5A3EF3}" type="datetime1">
              <a:rPr lang="de-DE" smtClean="0">
                <a:solidFill>
                  <a:srgbClr val="000000"/>
                </a:solidFill>
              </a:rPr>
              <a:t>03.12.20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F24AEC7F-8DBF-57AD-0F91-7D23D2032C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SiK und Krankenhaus Stakehold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46A3D82-06F7-F029-DCE3-E989FE943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BFCAF6A-9FD8-1364-01F0-FAE79CDE13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924" y="1207589"/>
            <a:ext cx="10291908" cy="465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9949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72BE7F-A52C-41D9-25A2-45C32A956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64F699C-DBF9-46AE-4DB8-331147906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70AF782-0E35-1276-56C0-8634FECD0F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4" y="1851252"/>
            <a:ext cx="8384945" cy="3365500"/>
          </a:xfrm>
        </p:spPr>
        <p:txBody>
          <a:bodyPr/>
          <a:lstStyle/>
          <a:p>
            <a:r>
              <a:rPr lang="de-DE" dirty="0"/>
              <a:t>Was wir erreicht haben</a:t>
            </a:r>
          </a:p>
          <a:p>
            <a:r>
              <a:rPr lang="de-DE" dirty="0"/>
              <a:t>Was wir gelernt haben</a:t>
            </a:r>
          </a:p>
          <a:p>
            <a:r>
              <a:rPr lang="de-DE" dirty="0"/>
              <a:t>Was können und wissen wir noch nicht?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43A9F52A-B322-483C-022F-9D527EAB0C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522091" y="6461798"/>
            <a:ext cx="686365" cy="180000"/>
          </a:xfrm>
        </p:spPr>
        <p:txBody>
          <a:bodyPr/>
          <a:lstStyle/>
          <a:p>
            <a:fld id="{0E224B17-6BAA-419A-A10E-EF501F5A3EF3}" type="datetime1">
              <a:rPr lang="de-DE" smtClean="0">
                <a:solidFill>
                  <a:srgbClr val="000000"/>
                </a:solidFill>
              </a:rPr>
              <a:t>03.12.202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650C4B4-DF63-BEAE-BEDC-392ABBA00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8662" y="6463629"/>
            <a:ext cx="6480000" cy="180000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ISiK und Krankenhaus Stakeholde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701C184-DD04-7183-DCDF-E7EA52360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550" y="6493730"/>
            <a:ext cx="686174" cy="180000"/>
          </a:xfrm>
        </p:spPr>
        <p:txBody>
          <a:bodyPr/>
          <a:lstStyle/>
          <a:p>
            <a:fld id="{4E94CFA2-DDEE-4F46-AAD3-48DE685EA116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5481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4..UDVFKrOW20H4IJkHA"/>
</p:tagLst>
</file>

<file path=ppt/theme/theme1.xml><?xml version="1.0" encoding="utf-8"?>
<a:theme xmlns:a="http://schemas.openxmlformats.org/drawingml/2006/main" name="gemantik">
  <a:themeElements>
    <a:clrScheme name="Benutzerdefiniert 5">
      <a:dk1>
        <a:srgbClr val="000E51"/>
      </a:dk1>
      <a:lt1>
        <a:srgbClr val="FFFFFF"/>
      </a:lt1>
      <a:dk2>
        <a:srgbClr val="8DA5C4"/>
      </a:dk2>
      <a:lt2>
        <a:srgbClr val="00766E"/>
      </a:lt2>
      <a:accent1>
        <a:srgbClr val="000E52"/>
      </a:accent1>
      <a:accent2>
        <a:srgbClr val="00FF64"/>
      </a:accent2>
      <a:accent3>
        <a:srgbClr val="4AFFFF"/>
      </a:accent3>
      <a:accent4>
        <a:srgbClr val="FF1B7C"/>
      </a:accent4>
      <a:accent5>
        <a:srgbClr val="EFEC00"/>
      </a:accent5>
      <a:accent6>
        <a:srgbClr val="42659F"/>
      </a:accent6>
      <a:hlink>
        <a:srgbClr val="000000"/>
      </a:hlink>
      <a:folHlink>
        <a:srgbClr val="00000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>
      <a:srgbClr val="000E52"/>
    </a:custClr>
    <a:custClr>
      <a:srgbClr val="00FF64"/>
    </a:custClr>
    <a:custClr>
      <a:srgbClr val="4AFFFF"/>
    </a:custClr>
    <a:custClr>
      <a:srgbClr val="E6E6E6"/>
    </a:custClr>
    <a:custClr>
      <a:srgbClr val="EE8360"/>
    </a:custClr>
    <a:custClr>
      <a:srgbClr val="225494"/>
    </a:custClr>
    <a:custClr>
      <a:srgbClr val="42659F"/>
    </a:custClr>
    <a:custClr>
      <a:srgbClr val="8DA5C4"/>
    </a:custClr>
    <a:custClr>
      <a:srgbClr val="00766E"/>
    </a:custClr>
    <a:custClr>
      <a:srgbClr val="009A7C"/>
    </a:custClr>
  </a:custClrLst>
  <a:extLst>
    <a:ext uri="{05A4C25C-085E-4340-85A3-A5531E510DB2}">
      <thm15:themeFamily xmlns:thm15="http://schemas.microsoft.com/office/thememl/2012/main" name="gematik_PPT_Vorlage_V03" id="{CAD3C5E5-BAE9-4079-AA58-36C3651C4E44}" vid="{1A09F86E-4308-480E-B7E5-538564C93BA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EA9A5E64653404080C998FC95AC8237" ma:contentTypeVersion="10" ma:contentTypeDescription="Ein neues Dokument erstellen." ma:contentTypeScope="" ma:versionID="4bf9ebeb377078de21246a3d31ddbd6a">
  <xsd:schema xmlns:xsd="http://www.w3.org/2001/XMLSchema" xmlns:xs="http://www.w3.org/2001/XMLSchema" xmlns:p="http://schemas.microsoft.com/office/2006/metadata/properties" xmlns:ns2="50ec2553-5958-46f4-a032-e4feb5253c40" xmlns:ns3="ccb7935e-c147-4231-b808-725f1c5e86d8" targetNamespace="http://schemas.microsoft.com/office/2006/metadata/properties" ma:root="true" ma:fieldsID="450e68f76002d81aecf78c1e30b3d065" ns2:_="" ns3:_="">
    <xsd:import namespace="50ec2553-5958-46f4-a032-e4feb5253c40"/>
    <xsd:import namespace="ccb7935e-c147-4231-b808-725f1c5e86d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ec2553-5958-46f4-a032-e4feb5253c4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b7935e-c147-4231-b808-725f1c5e86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52D9559-BA40-44E3-8855-E6DB89ECF0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85C63A-A19B-4B11-BE01-9FF6A7F403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ec2553-5958-46f4-a032-e4feb5253c40"/>
    <ds:schemaRef ds:uri="ccb7935e-c147-4231-b808-725f1c5e86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A27CFDE-C17F-45F2-8EE3-C1A74E7FD583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schemas.microsoft.com/office/2006/metadata/properties"/>
    <ds:schemaRef ds:uri="ccb7935e-c147-4231-b808-725f1c5e86d8"/>
    <ds:schemaRef ds:uri="http://www.w3.org/XML/1998/namespace"/>
    <ds:schemaRef ds:uri="50ec2553-5958-46f4-a032-e4feb5253c40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4</Words>
  <Application>Microsoft Office PowerPoint</Application>
  <PresentationFormat>Breitbild</PresentationFormat>
  <Paragraphs>83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Arial</vt:lpstr>
      <vt:lpstr>Calibri</vt:lpstr>
      <vt:lpstr>Open Sans</vt:lpstr>
      <vt:lpstr>Symbol</vt:lpstr>
      <vt:lpstr>Verdana</vt:lpstr>
      <vt:lpstr>gemantik</vt:lpstr>
      <vt:lpstr>think-cell Folie</vt:lpstr>
      <vt:lpstr>(Not so) Easy Informationstechnische Systeme im Krankenhaus (ISiK) –  Track Fortgeschrittene</vt:lpstr>
      <vt:lpstr>Agenda</vt:lpstr>
      <vt:lpstr>Szenarien – Dokumenten-Austausch</vt:lpstr>
      <vt:lpstr>Connect – Dokumenten-Server</vt:lpstr>
      <vt:lpstr>Connect – ISiK „Mock-Server“ für Dokumentenaustausch</vt:lpstr>
      <vt:lpstr>Connect – Wie komme ich an den Content?</vt:lpstr>
      <vt:lpstr>Connect – Wie komme ich an den Content?</vt:lpstr>
      <vt:lpstr>Connect – Wie komme ich an den Content?</vt:lpstr>
      <vt:lpstr>Fazit</vt:lpstr>
      <vt:lpstr>gematik. Gesunde Aussichten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Ansgar Hoeper</dc:creator>
  <cp:lastModifiedBy>Peverali, François</cp:lastModifiedBy>
  <cp:revision>868</cp:revision>
  <cp:lastPrinted>2024-11-25T09:30:13Z</cp:lastPrinted>
  <dcterms:created xsi:type="dcterms:W3CDTF">2020-01-14T08:53:41Z</dcterms:created>
  <dcterms:modified xsi:type="dcterms:W3CDTF">2024-12-03T15:1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A9A5E64653404080C998FC95AC8237</vt:lpwstr>
  </property>
</Properties>
</file>